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3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6"/>
    <p:sldMasterId id="2147484029" r:id="rId7"/>
    <p:sldMasterId id="2147484060" r:id="rId8"/>
  </p:sldMasterIdLst>
  <p:notesMasterIdLst>
    <p:notesMasterId r:id="rId15"/>
  </p:notesMasterIdLst>
  <p:handoutMasterIdLst>
    <p:handoutMasterId r:id="rId16"/>
  </p:handoutMasterIdLst>
  <p:sldIdLst>
    <p:sldId id="1203" r:id="rId9"/>
    <p:sldId id="1259" r:id="rId10"/>
    <p:sldId id="1258" r:id="rId11"/>
    <p:sldId id="259" r:id="rId12"/>
    <p:sldId id="1260" r:id="rId13"/>
    <p:sldId id="963" r:id="rId14"/>
  </p:sldIdLst>
  <p:sldSz cx="9144000" cy="5143500" type="screen16x9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1" userDrawn="1">
          <p15:clr>
            <a:srgbClr val="A4A3A4"/>
          </p15:clr>
        </p15:guide>
        <p15:guide id="2" orient="horz" pos="3944">
          <p15:clr>
            <a:srgbClr val="A4A3A4"/>
          </p15:clr>
        </p15:guide>
        <p15:guide id="11" orient="horz" pos="3117" userDrawn="1">
          <p15:clr>
            <a:srgbClr val="A4A3A4"/>
          </p15:clr>
        </p15:guide>
        <p15:guide id="13" orient="horz" pos="1688" userDrawn="1">
          <p15:clr>
            <a:srgbClr val="A4A3A4"/>
          </p15:clr>
        </p15:guide>
        <p15:guide id="18" pos="1678" userDrawn="1">
          <p15:clr>
            <a:srgbClr val="A4A3A4"/>
          </p15:clr>
        </p15:guide>
        <p15:guide id="25" pos="2132" userDrawn="1">
          <p15:clr>
            <a:srgbClr val="A4A3A4"/>
          </p15:clr>
        </p15:guide>
        <p15:guide id="26" orient="horz" pos="2663" userDrawn="1">
          <p15:clr>
            <a:srgbClr val="A4A3A4"/>
          </p15:clr>
        </p15:guide>
        <p15:guide id="27" orient="horz" pos="441" userDrawn="1">
          <p15:clr>
            <a:srgbClr val="A4A3A4"/>
          </p15:clr>
        </p15:guide>
        <p15:guide id="28" pos="4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385E"/>
    <a:srgbClr val="581D39"/>
    <a:srgbClr val="376B34"/>
    <a:srgbClr val="0F6894"/>
    <a:srgbClr val="292D3F"/>
    <a:srgbClr val="422259"/>
    <a:srgbClr val="E2E2E2"/>
    <a:srgbClr val="E6E6E6"/>
    <a:srgbClr val="EBEBEB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82" autoAdjust="0"/>
    <p:restoredTop sz="96000" autoAdjust="0"/>
  </p:normalViewPr>
  <p:slideViewPr>
    <p:cSldViewPr snapToGrid="0">
      <p:cViewPr varScale="1">
        <p:scale>
          <a:sx n="183" d="100"/>
          <a:sy n="183" d="100"/>
        </p:scale>
        <p:origin x="552" y="130"/>
      </p:cViewPr>
      <p:guideLst>
        <p:guide orient="horz" pos="1461"/>
        <p:guide orient="horz" pos="3944"/>
        <p:guide orient="horz" pos="3117"/>
        <p:guide orient="horz" pos="1688"/>
        <p:guide pos="1678"/>
        <p:guide pos="2132"/>
        <p:guide orient="horz" pos="2663"/>
        <p:guide orient="horz" pos="441"/>
        <p:guide pos="4830"/>
      </p:guideLst>
    </p:cSldViewPr>
  </p:slideViewPr>
  <p:outlineViewPr>
    <p:cViewPr>
      <p:scale>
        <a:sx n="33" d="100"/>
        <a:sy n="33" d="100"/>
      </p:scale>
      <p:origin x="0" y="-293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-2196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E27FA-7222-43D0-9D3F-61F986B02864}" type="doc">
      <dgm:prSet loTypeId="urn:microsoft.com/office/officeart/2005/8/layout/vList2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09A5D0E-60DA-4720-89B9-FDDA2B477D7B}">
      <dgm:prSet custT="1"/>
      <dgm:spPr>
        <a:noFill/>
        <a:ln>
          <a:solidFill>
            <a:srgbClr val="FF0000"/>
          </a:solidFill>
          <a:prstDash val="solid"/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pani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are o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xperien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s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20 de ani in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ia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ciar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local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oferi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in principal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oluti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corelat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rodusulu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leasing.</a:t>
          </a:r>
        </a:p>
      </dgm:t>
    </dgm:pt>
    <dgm:pt modelId="{0F21FB64-D505-4C22-9F55-0F494CD6769C}" type="parTrans" cxnId="{C214325D-407E-4839-9CA7-40B8BA257DC9}">
      <dgm:prSet/>
      <dgm:spPr/>
      <dgm:t>
        <a:bodyPr/>
        <a:lstStyle/>
        <a:p>
          <a:endParaRPr lang="en-US"/>
        </a:p>
      </dgm:t>
    </dgm:pt>
    <dgm:pt modelId="{4CBC9E2D-02FC-49FE-91AC-83E01F6EFA9D}" type="sibTrans" cxnId="{C214325D-407E-4839-9CA7-40B8BA257DC9}">
      <dgm:prSet/>
      <dgm:spPr/>
      <dgm:t>
        <a:bodyPr/>
        <a:lstStyle/>
        <a:p>
          <a:endParaRPr lang="en-US"/>
        </a:p>
      </dgm:t>
    </dgm:pt>
    <dgm:pt modelId="{03400EE9-26AC-4050-8D55-2685DBC50053}">
      <dgm:prSet custT="1"/>
      <dgm:spPr>
        <a:noFill/>
        <a:ln>
          <a:solidFill>
            <a:srgbClr val="FF0000"/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Know how important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rivi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tive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t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pani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gestiona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integral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iclul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ia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al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unu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contract –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incluza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lect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rean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recuper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remarketing.</a:t>
          </a:r>
        </a:p>
      </dgm:t>
    </dgm:pt>
    <dgm:pt modelId="{A872D5A1-D37B-456A-8BF6-BFE53F32529A}" type="parTrans" cxnId="{2C202328-FAE2-412C-9ECC-4194402AB9C8}">
      <dgm:prSet/>
      <dgm:spPr/>
      <dgm:t>
        <a:bodyPr/>
        <a:lstStyle/>
        <a:p>
          <a:endParaRPr lang="en-US"/>
        </a:p>
      </dgm:t>
    </dgm:pt>
    <dgm:pt modelId="{8B8C612D-2095-4517-96C1-18E227BBFD57}" type="sibTrans" cxnId="{2C202328-FAE2-412C-9ECC-4194402AB9C8}">
      <dgm:prSet/>
      <dgm:spPr/>
      <dgm:t>
        <a:bodyPr/>
        <a:lstStyle/>
        <a:p>
          <a:endParaRPr lang="en-US"/>
        </a:p>
      </dgm:t>
    </dgm:pt>
    <dgm:pt modelId="{353C2FB1-0839-41BA-99E0-666664558CDB}">
      <dgm:prSet custT="1"/>
      <dgm:spPr>
        <a:noFill/>
        <a:ln>
          <a:solidFill>
            <a:srgbClr val="FF0000"/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arteneriat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BEI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ntru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t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“activ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erz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”. </a:t>
          </a:r>
        </a:p>
      </dgm:t>
    </dgm:pt>
    <dgm:pt modelId="{377AB8C1-2950-4093-902A-9A7912974277}" type="parTrans" cxnId="{A67BB428-5212-43D3-A31C-18063AFE2E2A}">
      <dgm:prSet/>
      <dgm:spPr/>
      <dgm:t>
        <a:bodyPr/>
        <a:lstStyle/>
        <a:p>
          <a:endParaRPr lang="en-US"/>
        </a:p>
      </dgm:t>
    </dgm:pt>
    <dgm:pt modelId="{E4F02AB8-41AA-47A3-AB26-7EB02263609D}" type="sibTrans" cxnId="{A67BB428-5212-43D3-A31C-18063AFE2E2A}">
      <dgm:prSet/>
      <dgm:spPr/>
      <dgm:t>
        <a:bodyPr/>
        <a:lstStyle/>
        <a:p>
          <a:endParaRPr lang="en-US"/>
        </a:p>
      </dgm:t>
    </dgm:pt>
    <dgm:pt modelId="{1E0481C5-8A44-40BC-A824-E04F1F8C7941}">
      <dgm:prSet custT="1"/>
      <dgm:spPr>
        <a:noFill/>
        <a:ln>
          <a:solidFill>
            <a:srgbClr val="FF0000"/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lux rapid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prob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– FLASH -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ntru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hiziti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utovehicu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ehicu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ercia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no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</a:t>
          </a:r>
        </a:p>
      </dgm:t>
    </dgm:pt>
    <dgm:pt modelId="{BAF662B3-4C14-452F-8E8F-CD991EEDD061}" type="parTrans" cxnId="{5B42A0F6-A16C-4DA4-BD1F-8A241893D2E6}">
      <dgm:prSet/>
      <dgm:spPr/>
      <dgm:t>
        <a:bodyPr/>
        <a:lstStyle/>
        <a:p>
          <a:endParaRPr lang="en-US"/>
        </a:p>
      </dgm:t>
    </dgm:pt>
    <dgm:pt modelId="{1982A389-7711-41CF-84D5-D8823E87E727}" type="sibTrans" cxnId="{5B42A0F6-A16C-4DA4-BD1F-8A241893D2E6}">
      <dgm:prSet/>
      <dgm:spPr/>
      <dgm:t>
        <a:bodyPr/>
        <a:lstStyle/>
        <a:p>
          <a:endParaRPr lang="en-US"/>
        </a:p>
      </dgm:t>
    </dgm:pt>
    <dgm:pt modelId="{DBB9EE41-241F-4D18-BF16-2E308323891C}">
      <dgm:prSet custT="1"/>
      <dgm:spPr>
        <a:noFill/>
        <a:ln>
          <a:solidFill>
            <a:srgbClr val="FF0000"/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arteneri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dicate cu brand-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ur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recunoscu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: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utoturism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ehicu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ercia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chipamen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nstructi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utilaj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gricultur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chipamen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IT&amp;Offic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</a:t>
          </a:r>
        </a:p>
      </dgm:t>
    </dgm:pt>
    <dgm:pt modelId="{C26BD795-D06F-4E57-A75B-12AD459CB37F}" type="parTrans" cxnId="{6145CEEE-0877-4338-97AF-CB5134539BC7}">
      <dgm:prSet/>
      <dgm:spPr/>
      <dgm:t>
        <a:bodyPr/>
        <a:lstStyle/>
        <a:p>
          <a:endParaRPr lang="en-US"/>
        </a:p>
      </dgm:t>
    </dgm:pt>
    <dgm:pt modelId="{0532A1A1-701E-4D39-BA8E-27BD1AE63A29}" type="sibTrans" cxnId="{6145CEEE-0877-4338-97AF-CB5134539BC7}">
      <dgm:prSet/>
      <dgm:spPr/>
      <dgm:t>
        <a:bodyPr/>
        <a:lstStyle/>
        <a:p>
          <a:endParaRPr lang="en-US"/>
        </a:p>
      </dgm:t>
    </dgm:pt>
    <dgm:pt modelId="{DC42C338-6842-4261-838B-40D3D412E188}">
      <dgm:prSet custT="1"/>
      <dgm:spPr>
        <a:noFill/>
        <a:ln>
          <a:solidFill>
            <a:srgbClr val="FF0000"/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operi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national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–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chip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dedica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 </a:t>
          </a:r>
        </a:p>
      </dgm:t>
    </dgm:pt>
    <dgm:pt modelId="{4502BEF5-1882-4E61-B00B-5C4C602DDF86}" type="parTrans" cxnId="{B3174F67-829F-4722-84FB-81BE4B950666}">
      <dgm:prSet/>
      <dgm:spPr/>
      <dgm:t>
        <a:bodyPr/>
        <a:lstStyle/>
        <a:p>
          <a:endParaRPr lang="en-US"/>
        </a:p>
      </dgm:t>
    </dgm:pt>
    <dgm:pt modelId="{B827E6F5-8990-4F32-B69A-4BA8B7C61152}" type="sibTrans" cxnId="{B3174F67-829F-4722-84FB-81BE4B950666}">
      <dgm:prSet/>
      <dgm:spPr/>
      <dgm:t>
        <a:bodyPr/>
        <a:lstStyle/>
        <a:p>
          <a:endParaRPr lang="en-US"/>
        </a:p>
      </dgm:t>
    </dgm:pt>
    <dgm:pt modelId="{3A66965C-2D24-4619-AD5E-084487ADD9DF}">
      <dgm:prSet custT="1"/>
      <dgm:spPr>
        <a:noFill/>
        <a:ln>
          <a:solidFill>
            <a:srgbClr val="FF0000"/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oluti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t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ntru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panii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fl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la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inceput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tivit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</a:t>
          </a:r>
          <a:endParaRPr lang="ro-RO" sz="1200" kern="1200" dirty="0">
            <a:solidFill>
              <a:prstClr val="black"/>
            </a:solidFill>
            <a:latin typeface="Aptos" panose="02110004020202020204"/>
            <a:ea typeface="+mn-ea"/>
            <a:cs typeface="+mn-cs"/>
          </a:endParaRPr>
        </a:p>
      </dgm:t>
    </dgm:pt>
    <dgm:pt modelId="{055A0D23-743F-46EB-BB68-8B251A3EB9C6}" type="parTrans" cxnId="{B43A85D6-2026-4F41-8FF1-44AB6B93958E}">
      <dgm:prSet/>
      <dgm:spPr/>
      <dgm:t>
        <a:bodyPr/>
        <a:lstStyle/>
        <a:p>
          <a:endParaRPr lang="ro-RO"/>
        </a:p>
      </dgm:t>
    </dgm:pt>
    <dgm:pt modelId="{81685791-C2F1-4CE0-A00C-60DA5087680E}" type="sibTrans" cxnId="{B43A85D6-2026-4F41-8FF1-44AB6B93958E}">
      <dgm:prSet/>
      <dgm:spPr/>
      <dgm:t>
        <a:bodyPr/>
        <a:lstStyle/>
        <a:p>
          <a:endParaRPr lang="ro-RO"/>
        </a:p>
      </dgm:t>
    </dgm:pt>
    <dgm:pt modelId="{3E86CCFE-96D9-4A2D-BB74-006BF24797C2}" type="pres">
      <dgm:prSet presAssocID="{ACDE27FA-7222-43D0-9D3F-61F986B02864}" presName="linear" presStyleCnt="0">
        <dgm:presLayoutVars>
          <dgm:animLvl val="lvl"/>
          <dgm:resizeHandles val="exact"/>
        </dgm:presLayoutVars>
      </dgm:prSet>
      <dgm:spPr/>
    </dgm:pt>
    <dgm:pt modelId="{2CC6E886-B7A3-49F8-8229-C56AC87144D9}" type="pres">
      <dgm:prSet presAssocID="{709A5D0E-60DA-4720-89B9-FDDA2B477D7B}" presName="parentText" presStyleLbl="node1" presStyleIdx="0" presStyleCnt="7" custScaleY="75924">
        <dgm:presLayoutVars>
          <dgm:chMax val="0"/>
          <dgm:bulletEnabled val="1"/>
        </dgm:presLayoutVars>
      </dgm:prSet>
      <dgm:spPr/>
    </dgm:pt>
    <dgm:pt modelId="{89ED03A4-B277-4963-BC82-28DF202714D5}" type="pres">
      <dgm:prSet presAssocID="{4CBC9E2D-02FC-49FE-91AC-83E01F6EFA9D}" presName="spacer" presStyleCnt="0"/>
      <dgm:spPr/>
    </dgm:pt>
    <dgm:pt modelId="{18557D93-1F13-47F4-A0E0-AA0CA9CA942D}" type="pres">
      <dgm:prSet presAssocID="{03400EE9-26AC-4050-8D55-2685DBC50053}" presName="parentText" presStyleLbl="node1" presStyleIdx="1" presStyleCnt="7" custScaleY="91395">
        <dgm:presLayoutVars>
          <dgm:chMax val="0"/>
          <dgm:bulletEnabled val="1"/>
        </dgm:presLayoutVars>
      </dgm:prSet>
      <dgm:spPr/>
    </dgm:pt>
    <dgm:pt modelId="{D07208AB-AFA0-47B6-9C21-D050C083E00D}" type="pres">
      <dgm:prSet presAssocID="{8B8C612D-2095-4517-96C1-18E227BBFD57}" presName="spacer" presStyleCnt="0"/>
      <dgm:spPr/>
    </dgm:pt>
    <dgm:pt modelId="{A85A2AC9-1915-4B71-87AB-84E47294C0C5}" type="pres">
      <dgm:prSet presAssocID="{353C2FB1-0839-41BA-99E0-666664558CDB}" presName="parentText" presStyleLbl="node1" presStyleIdx="2" presStyleCnt="7" custScaleY="66458">
        <dgm:presLayoutVars>
          <dgm:chMax val="0"/>
          <dgm:bulletEnabled val="1"/>
        </dgm:presLayoutVars>
      </dgm:prSet>
      <dgm:spPr/>
    </dgm:pt>
    <dgm:pt modelId="{549A19C4-9EAA-4B6E-B689-53D160DE645D}" type="pres">
      <dgm:prSet presAssocID="{E4F02AB8-41AA-47A3-AB26-7EB02263609D}" presName="spacer" presStyleCnt="0"/>
      <dgm:spPr/>
    </dgm:pt>
    <dgm:pt modelId="{A905463A-B1F5-4EC1-A4A8-462B22D222C8}" type="pres">
      <dgm:prSet presAssocID="{1E0481C5-8A44-40BC-A824-E04F1F8C7941}" presName="parentText" presStyleLbl="node1" presStyleIdx="3" presStyleCnt="7" custScaleY="83683">
        <dgm:presLayoutVars>
          <dgm:chMax val="0"/>
          <dgm:bulletEnabled val="1"/>
        </dgm:presLayoutVars>
      </dgm:prSet>
      <dgm:spPr/>
    </dgm:pt>
    <dgm:pt modelId="{D7A01035-26AC-41F8-B7F4-DF16A8B7956F}" type="pres">
      <dgm:prSet presAssocID="{1982A389-7711-41CF-84D5-D8823E87E727}" presName="spacer" presStyleCnt="0"/>
      <dgm:spPr/>
    </dgm:pt>
    <dgm:pt modelId="{F7038391-E54C-41F1-BC4F-E56F26DC8CD9}" type="pres">
      <dgm:prSet presAssocID="{DBB9EE41-241F-4D18-BF16-2E308323891C}" presName="parentText" presStyleLbl="node1" presStyleIdx="4" presStyleCnt="7" custScaleY="86221">
        <dgm:presLayoutVars>
          <dgm:chMax val="0"/>
          <dgm:bulletEnabled val="1"/>
        </dgm:presLayoutVars>
      </dgm:prSet>
      <dgm:spPr/>
    </dgm:pt>
    <dgm:pt modelId="{52EFD0C1-CA44-4B35-8308-FB5CDE48C84D}" type="pres">
      <dgm:prSet presAssocID="{0532A1A1-701E-4D39-BA8E-27BD1AE63A29}" presName="spacer" presStyleCnt="0"/>
      <dgm:spPr/>
    </dgm:pt>
    <dgm:pt modelId="{2BB1FA96-55DC-4F8E-A3D8-1F35154767F9}" type="pres">
      <dgm:prSet presAssocID="{DC42C338-6842-4261-838B-40D3D412E188}" presName="parentText" presStyleLbl="node1" presStyleIdx="5" presStyleCnt="7" custScaleY="82970" custLinFactNeighborY="41776">
        <dgm:presLayoutVars>
          <dgm:chMax val="0"/>
          <dgm:bulletEnabled val="1"/>
        </dgm:presLayoutVars>
      </dgm:prSet>
      <dgm:spPr/>
    </dgm:pt>
    <dgm:pt modelId="{0E8B64BA-1043-4753-9703-1370767C2DB6}" type="pres">
      <dgm:prSet presAssocID="{B827E6F5-8990-4F32-B69A-4BA8B7C61152}" presName="spacer" presStyleCnt="0"/>
      <dgm:spPr/>
    </dgm:pt>
    <dgm:pt modelId="{F2DA85B0-31C8-46B9-A287-9AE05247367E}" type="pres">
      <dgm:prSet presAssocID="{3A66965C-2D24-4619-AD5E-084487ADD9DF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2C202328-FAE2-412C-9ECC-4194402AB9C8}" srcId="{ACDE27FA-7222-43D0-9D3F-61F986B02864}" destId="{03400EE9-26AC-4050-8D55-2685DBC50053}" srcOrd="1" destOrd="0" parTransId="{A872D5A1-D37B-456A-8BF6-BFE53F32529A}" sibTransId="{8B8C612D-2095-4517-96C1-18E227BBFD57}"/>
    <dgm:cxn modelId="{A67BB428-5212-43D3-A31C-18063AFE2E2A}" srcId="{ACDE27FA-7222-43D0-9D3F-61F986B02864}" destId="{353C2FB1-0839-41BA-99E0-666664558CDB}" srcOrd="2" destOrd="0" parTransId="{377AB8C1-2950-4093-902A-9A7912974277}" sibTransId="{E4F02AB8-41AA-47A3-AB26-7EB02263609D}"/>
    <dgm:cxn modelId="{95299E32-824E-4FA5-8BF4-6A3B907030B3}" type="presOf" srcId="{DC42C338-6842-4261-838B-40D3D412E188}" destId="{2BB1FA96-55DC-4F8E-A3D8-1F35154767F9}" srcOrd="0" destOrd="0" presId="urn:microsoft.com/office/officeart/2005/8/layout/vList2"/>
    <dgm:cxn modelId="{C214325D-407E-4839-9CA7-40B8BA257DC9}" srcId="{ACDE27FA-7222-43D0-9D3F-61F986B02864}" destId="{709A5D0E-60DA-4720-89B9-FDDA2B477D7B}" srcOrd="0" destOrd="0" parTransId="{0F21FB64-D505-4C22-9F55-0F494CD6769C}" sibTransId="{4CBC9E2D-02FC-49FE-91AC-83E01F6EFA9D}"/>
    <dgm:cxn modelId="{30B37461-986C-4256-AF8E-E4406B64A0A1}" type="presOf" srcId="{3A66965C-2D24-4619-AD5E-084487ADD9DF}" destId="{F2DA85B0-31C8-46B9-A287-9AE05247367E}" srcOrd="0" destOrd="0" presId="urn:microsoft.com/office/officeart/2005/8/layout/vList2"/>
    <dgm:cxn modelId="{B3174F67-829F-4722-84FB-81BE4B950666}" srcId="{ACDE27FA-7222-43D0-9D3F-61F986B02864}" destId="{DC42C338-6842-4261-838B-40D3D412E188}" srcOrd="5" destOrd="0" parTransId="{4502BEF5-1882-4E61-B00B-5C4C602DDF86}" sibTransId="{B827E6F5-8990-4F32-B69A-4BA8B7C61152}"/>
    <dgm:cxn modelId="{D755A555-DAF8-4B47-AF5F-D44CDA61AD17}" type="presOf" srcId="{1E0481C5-8A44-40BC-A824-E04F1F8C7941}" destId="{A905463A-B1F5-4EC1-A4A8-462B22D222C8}" srcOrd="0" destOrd="0" presId="urn:microsoft.com/office/officeart/2005/8/layout/vList2"/>
    <dgm:cxn modelId="{F328257F-D032-49B5-AFF9-4B7D00685D89}" type="presOf" srcId="{ACDE27FA-7222-43D0-9D3F-61F986B02864}" destId="{3E86CCFE-96D9-4A2D-BB74-006BF24797C2}" srcOrd="0" destOrd="0" presId="urn:microsoft.com/office/officeart/2005/8/layout/vList2"/>
    <dgm:cxn modelId="{AD17D293-0385-48BE-93DE-9C69B916AB9C}" type="presOf" srcId="{DBB9EE41-241F-4D18-BF16-2E308323891C}" destId="{F7038391-E54C-41F1-BC4F-E56F26DC8CD9}" srcOrd="0" destOrd="0" presId="urn:microsoft.com/office/officeart/2005/8/layout/vList2"/>
    <dgm:cxn modelId="{134FE6AD-8388-42FF-A847-08D68EEE6170}" type="presOf" srcId="{03400EE9-26AC-4050-8D55-2685DBC50053}" destId="{18557D93-1F13-47F4-A0E0-AA0CA9CA942D}" srcOrd="0" destOrd="0" presId="urn:microsoft.com/office/officeart/2005/8/layout/vList2"/>
    <dgm:cxn modelId="{A37101AF-E7AD-4C08-995F-994B326DFF15}" type="presOf" srcId="{353C2FB1-0839-41BA-99E0-666664558CDB}" destId="{A85A2AC9-1915-4B71-87AB-84E47294C0C5}" srcOrd="0" destOrd="0" presId="urn:microsoft.com/office/officeart/2005/8/layout/vList2"/>
    <dgm:cxn modelId="{B43A85D6-2026-4F41-8FF1-44AB6B93958E}" srcId="{ACDE27FA-7222-43D0-9D3F-61F986B02864}" destId="{3A66965C-2D24-4619-AD5E-084487ADD9DF}" srcOrd="6" destOrd="0" parTransId="{055A0D23-743F-46EB-BB68-8B251A3EB9C6}" sibTransId="{81685791-C2F1-4CE0-A00C-60DA5087680E}"/>
    <dgm:cxn modelId="{1B3080DA-5186-42A4-AC7A-836457EAF7F9}" type="presOf" srcId="{709A5D0E-60DA-4720-89B9-FDDA2B477D7B}" destId="{2CC6E886-B7A3-49F8-8229-C56AC87144D9}" srcOrd="0" destOrd="0" presId="urn:microsoft.com/office/officeart/2005/8/layout/vList2"/>
    <dgm:cxn modelId="{6145CEEE-0877-4338-97AF-CB5134539BC7}" srcId="{ACDE27FA-7222-43D0-9D3F-61F986B02864}" destId="{DBB9EE41-241F-4D18-BF16-2E308323891C}" srcOrd="4" destOrd="0" parTransId="{C26BD795-D06F-4E57-A75B-12AD459CB37F}" sibTransId="{0532A1A1-701E-4D39-BA8E-27BD1AE63A29}"/>
    <dgm:cxn modelId="{5B42A0F6-A16C-4DA4-BD1F-8A241893D2E6}" srcId="{ACDE27FA-7222-43D0-9D3F-61F986B02864}" destId="{1E0481C5-8A44-40BC-A824-E04F1F8C7941}" srcOrd="3" destOrd="0" parTransId="{BAF662B3-4C14-452F-8E8F-CD991EEDD061}" sibTransId="{1982A389-7711-41CF-84D5-D8823E87E727}"/>
    <dgm:cxn modelId="{AC2D5899-D84E-44DD-87E2-D99539B979A3}" type="presParOf" srcId="{3E86CCFE-96D9-4A2D-BB74-006BF24797C2}" destId="{2CC6E886-B7A3-49F8-8229-C56AC87144D9}" srcOrd="0" destOrd="0" presId="urn:microsoft.com/office/officeart/2005/8/layout/vList2"/>
    <dgm:cxn modelId="{D59DE9E1-49D6-4ACB-967A-9D203EBD016E}" type="presParOf" srcId="{3E86CCFE-96D9-4A2D-BB74-006BF24797C2}" destId="{89ED03A4-B277-4963-BC82-28DF202714D5}" srcOrd="1" destOrd="0" presId="urn:microsoft.com/office/officeart/2005/8/layout/vList2"/>
    <dgm:cxn modelId="{16F56B3E-C024-47FC-A422-D439AD6B0DEA}" type="presParOf" srcId="{3E86CCFE-96D9-4A2D-BB74-006BF24797C2}" destId="{18557D93-1F13-47F4-A0E0-AA0CA9CA942D}" srcOrd="2" destOrd="0" presId="urn:microsoft.com/office/officeart/2005/8/layout/vList2"/>
    <dgm:cxn modelId="{A68A6C99-C040-4954-86A9-C462F1B351DD}" type="presParOf" srcId="{3E86CCFE-96D9-4A2D-BB74-006BF24797C2}" destId="{D07208AB-AFA0-47B6-9C21-D050C083E00D}" srcOrd="3" destOrd="0" presId="urn:microsoft.com/office/officeart/2005/8/layout/vList2"/>
    <dgm:cxn modelId="{8365C0B4-FA79-4F76-80FD-E0497E1EB014}" type="presParOf" srcId="{3E86CCFE-96D9-4A2D-BB74-006BF24797C2}" destId="{A85A2AC9-1915-4B71-87AB-84E47294C0C5}" srcOrd="4" destOrd="0" presId="urn:microsoft.com/office/officeart/2005/8/layout/vList2"/>
    <dgm:cxn modelId="{51B80CC6-4362-42C4-91CA-332D14F7FC1B}" type="presParOf" srcId="{3E86CCFE-96D9-4A2D-BB74-006BF24797C2}" destId="{549A19C4-9EAA-4B6E-B689-53D160DE645D}" srcOrd="5" destOrd="0" presId="urn:microsoft.com/office/officeart/2005/8/layout/vList2"/>
    <dgm:cxn modelId="{41FFDDEA-EB04-4835-95F8-BC2554804EBF}" type="presParOf" srcId="{3E86CCFE-96D9-4A2D-BB74-006BF24797C2}" destId="{A905463A-B1F5-4EC1-A4A8-462B22D222C8}" srcOrd="6" destOrd="0" presId="urn:microsoft.com/office/officeart/2005/8/layout/vList2"/>
    <dgm:cxn modelId="{18095486-1678-4165-A60F-BDD3758DF98F}" type="presParOf" srcId="{3E86CCFE-96D9-4A2D-BB74-006BF24797C2}" destId="{D7A01035-26AC-41F8-B7F4-DF16A8B7956F}" srcOrd="7" destOrd="0" presId="urn:microsoft.com/office/officeart/2005/8/layout/vList2"/>
    <dgm:cxn modelId="{747D9685-191D-487E-B57E-9BED5F779EC0}" type="presParOf" srcId="{3E86CCFE-96D9-4A2D-BB74-006BF24797C2}" destId="{F7038391-E54C-41F1-BC4F-E56F26DC8CD9}" srcOrd="8" destOrd="0" presId="urn:microsoft.com/office/officeart/2005/8/layout/vList2"/>
    <dgm:cxn modelId="{57889E11-C17A-4E54-A305-C597F3B47DD5}" type="presParOf" srcId="{3E86CCFE-96D9-4A2D-BB74-006BF24797C2}" destId="{52EFD0C1-CA44-4B35-8308-FB5CDE48C84D}" srcOrd="9" destOrd="0" presId="urn:microsoft.com/office/officeart/2005/8/layout/vList2"/>
    <dgm:cxn modelId="{7CAE10B4-9425-4630-98E9-7DF984F2BB7E}" type="presParOf" srcId="{3E86CCFE-96D9-4A2D-BB74-006BF24797C2}" destId="{2BB1FA96-55DC-4F8E-A3D8-1F35154767F9}" srcOrd="10" destOrd="0" presId="urn:microsoft.com/office/officeart/2005/8/layout/vList2"/>
    <dgm:cxn modelId="{38FAD5F3-6F7C-43AE-B4B0-EDD99EF373E6}" type="presParOf" srcId="{3E86CCFE-96D9-4A2D-BB74-006BF24797C2}" destId="{0E8B64BA-1043-4753-9703-1370767C2DB6}" srcOrd="11" destOrd="0" presId="urn:microsoft.com/office/officeart/2005/8/layout/vList2"/>
    <dgm:cxn modelId="{CCB7F1D5-C8CF-45C8-87BD-2CBB38E4363C}" type="presParOf" srcId="{3E86CCFE-96D9-4A2D-BB74-006BF24797C2}" destId="{F2DA85B0-31C8-46B9-A287-9AE05247367E}" srcOrd="12" destOrd="0" presId="urn:microsoft.com/office/officeart/2005/8/layout/vList2"/>
  </dgm:cxnLst>
  <dgm:bg/>
  <dgm:whole>
    <a:ln w="9525" cap="flat" cmpd="sng" algn="ctr">
      <a:solidFill>
        <a:srgbClr val="FF0000"/>
      </a:solidFill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C6E886-B7A3-49F8-8229-C56AC87144D9}">
      <dsp:nvSpPr>
        <dsp:cNvPr id="0" name=""/>
        <dsp:cNvSpPr/>
      </dsp:nvSpPr>
      <dsp:spPr>
        <a:xfrm>
          <a:off x="0" y="41310"/>
          <a:ext cx="5000125" cy="525879"/>
        </a:xfrm>
        <a:prstGeom prst="roundRect">
          <a:avLst/>
        </a:prstGeom>
        <a:noFill/>
        <a:ln>
          <a:solidFill>
            <a:srgbClr val="FF000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pani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are o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xperien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s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20 de ani in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ia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ciar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local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oferi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in principal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oluti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corelat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rodusulu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leasing.</a:t>
          </a:r>
        </a:p>
      </dsp:txBody>
      <dsp:txXfrm>
        <a:off x="25671" y="66981"/>
        <a:ext cx="4948783" cy="474537"/>
      </dsp:txXfrm>
    </dsp:sp>
    <dsp:sp modelId="{18557D93-1F13-47F4-A0E0-AA0CA9CA942D}">
      <dsp:nvSpPr>
        <dsp:cNvPr id="0" name=""/>
        <dsp:cNvSpPr/>
      </dsp:nvSpPr>
      <dsp:spPr>
        <a:xfrm>
          <a:off x="0" y="673750"/>
          <a:ext cx="5000125" cy="633038"/>
        </a:xfrm>
        <a:prstGeom prst="roundRect">
          <a:avLst/>
        </a:prstGeom>
        <a:noFill/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Know how important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rivi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tive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t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pani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gestiona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integral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iclul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ia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al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unu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contract –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incluzand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lect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rean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recuper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remarketing.</a:t>
          </a:r>
        </a:p>
      </dsp:txBody>
      <dsp:txXfrm>
        <a:off x="30902" y="704652"/>
        <a:ext cx="4938321" cy="571234"/>
      </dsp:txXfrm>
    </dsp:sp>
    <dsp:sp modelId="{A85A2AC9-1915-4B71-87AB-84E47294C0C5}">
      <dsp:nvSpPr>
        <dsp:cNvPr id="0" name=""/>
        <dsp:cNvSpPr/>
      </dsp:nvSpPr>
      <dsp:spPr>
        <a:xfrm>
          <a:off x="0" y="1413348"/>
          <a:ext cx="5000125" cy="460314"/>
        </a:xfrm>
        <a:prstGeom prst="roundRect">
          <a:avLst/>
        </a:prstGeom>
        <a:noFill/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arteneriat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BEI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ntru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t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“activ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erz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”. </a:t>
          </a:r>
        </a:p>
      </dsp:txBody>
      <dsp:txXfrm>
        <a:off x="22471" y="1435819"/>
        <a:ext cx="4955183" cy="415372"/>
      </dsp:txXfrm>
    </dsp:sp>
    <dsp:sp modelId="{A905463A-B1F5-4EC1-A4A8-462B22D222C8}">
      <dsp:nvSpPr>
        <dsp:cNvPr id="0" name=""/>
        <dsp:cNvSpPr/>
      </dsp:nvSpPr>
      <dsp:spPr>
        <a:xfrm>
          <a:off x="0" y="1980223"/>
          <a:ext cx="5000125" cy="579621"/>
        </a:xfrm>
        <a:prstGeom prst="roundRect">
          <a:avLst/>
        </a:prstGeom>
        <a:noFill/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lux rapid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prob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– FLASH -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ntru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hiziti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utovehicu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ehicu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ercia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no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</a:t>
          </a:r>
        </a:p>
      </dsp:txBody>
      <dsp:txXfrm>
        <a:off x="28295" y="2008518"/>
        <a:ext cx="4943535" cy="523031"/>
      </dsp:txXfrm>
    </dsp:sp>
    <dsp:sp modelId="{F7038391-E54C-41F1-BC4F-E56F26DC8CD9}">
      <dsp:nvSpPr>
        <dsp:cNvPr id="0" name=""/>
        <dsp:cNvSpPr/>
      </dsp:nvSpPr>
      <dsp:spPr>
        <a:xfrm>
          <a:off x="0" y="2666405"/>
          <a:ext cx="5000125" cy="597201"/>
        </a:xfrm>
        <a:prstGeom prst="roundRect">
          <a:avLst/>
        </a:prstGeom>
        <a:noFill/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arteneri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dicate cu brand-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ur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recunoscu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: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utoturism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vehicu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ercia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chipamen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nstructi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,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utilaj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gricultur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chipamen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IT&amp;Offic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</a:t>
          </a:r>
        </a:p>
      </dsp:txBody>
      <dsp:txXfrm>
        <a:off x="29153" y="2695558"/>
        <a:ext cx="4941819" cy="538895"/>
      </dsp:txXfrm>
    </dsp:sp>
    <dsp:sp modelId="{2BB1FA96-55DC-4F8E-A3D8-1F35154767F9}">
      <dsp:nvSpPr>
        <dsp:cNvPr id="0" name=""/>
        <dsp:cNvSpPr/>
      </dsp:nvSpPr>
      <dsp:spPr>
        <a:xfrm>
          <a:off x="0" y="3414682"/>
          <a:ext cx="5000125" cy="574683"/>
        </a:xfrm>
        <a:prstGeom prst="roundRect">
          <a:avLst/>
        </a:prstGeom>
        <a:noFill/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operi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national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–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echip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dedicata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 </a:t>
          </a:r>
        </a:p>
      </dsp:txBody>
      <dsp:txXfrm>
        <a:off x="28054" y="3442736"/>
        <a:ext cx="4944017" cy="518575"/>
      </dsp:txXfrm>
    </dsp:sp>
    <dsp:sp modelId="{F2DA85B0-31C8-46B9-A287-9AE05247367E}">
      <dsp:nvSpPr>
        <dsp:cNvPr id="0" name=""/>
        <dsp:cNvSpPr/>
      </dsp:nvSpPr>
      <dsp:spPr>
        <a:xfrm>
          <a:off x="0" y="4051409"/>
          <a:ext cx="5000125" cy="692640"/>
        </a:xfrm>
        <a:prstGeom prst="roundRect">
          <a:avLst/>
        </a:prstGeom>
        <a:noFill/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ptos" panose="020B0004020202020204" pitchFamily="34" charset="0"/>
            <a:buNone/>
          </a:pP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Solutii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finantar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pentru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companiil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fl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la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inceput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 de </a:t>
          </a:r>
          <a:r>
            <a:rPr lang="en-US" sz="1200" kern="1200" dirty="0" err="1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activitate</a:t>
          </a:r>
          <a:r>
            <a:rPr lang="en-US" sz="1200" kern="1200" dirty="0">
              <a:solidFill>
                <a:prstClr val="black"/>
              </a:solidFill>
              <a:latin typeface="Aptos" panose="02110004020202020204"/>
              <a:ea typeface="+mn-ea"/>
              <a:cs typeface="+mn-cs"/>
            </a:rPr>
            <a:t>.</a:t>
          </a:r>
          <a:endParaRPr lang="ro-RO" sz="1200" kern="1200" dirty="0">
            <a:solidFill>
              <a:prstClr val="black"/>
            </a:solidFill>
            <a:latin typeface="Aptos" panose="02110004020202020204"/>
            <a:ea typeface="+mn-ea"/>
            <a:cs typeface="+mn-cs"/>
          </a:endParaRPr>
        </a:p>
      </dsp:txBody>
      <dsp:txXfrm>
        <a:off x="33812" y="4085221"/>
        <a:ext cx="4932501" cy="6250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0" y="2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/>
          <a:lstStyle>
            <a:lvl1pPr algn="r">
              <a:defRPr sz="1200"/>
            </a:lvl1pPr>
          </a:lstStyle>
          <a:p>
            <a:fld id="{E640F6A5-9080-4E70-B802-25C28AB79C70}" type="datetimeFigureOut">
              <a:rPr lang="en-GB" smtClean="0"/>
              <a:pPr/>
              <a:t>31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0" y="8829967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 anchor="b"/>
          <a:lstStyle>
            <a:lvl1pPr algn="r">
              <a:defRPr sz="1200"/>
            </a:lvl1pPr>
          </a:lstStyle>
          <a:p>
            <a:fld id="{3820602F-4F05-45D9-805B-E85885946F2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2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/>
          <a:lstStyle>
            <a:lvl1pPr algn="r">
              <a:defRPr sz="1200"/>
            </a:lvl1pPr>
          </a:lstStyle>
          <a:p>
            <a:fld id="{02B4D840-579E-4A0A-8746-563BB81BFCF8}" type="datetimeFigureOut">
              <a:rPr lang="en-GB" smtClean="0"/>
              <a:pPr/>
              <a:t>31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4" tIns="46587" rIns="93174" bIns="46587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4" tIns="46587" rIns="93174" bIns="4658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7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 anchor="b"/>
          <a:lstStyle>
            <a:lvl1pPr algn="r">
              <a:defRPr sz="1200"/>
            </a:lvl1pPr>
          </a:lstStyle>
          <a:p>
            <a:fld id="{B849F58B-522D-43AE-9196-6FF1A84B551E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76275"/>
            <a:ext cx="6010275" cy="3381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>
              <a:buFont typeface="Arial" pitchFamily="34" charset="0"/>
              <a:buNone/>
            </a:pPr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6531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EA8A97-AAE9-47B0-87D0-066C1F9D8145}" type="slidenum">
              <a:rPr lang="ro-RO" smtClean="0"/>
              <a:t>4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266724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722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10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10.emf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1.xml"/><Relationship Id="rId9" Type="http://schemas.openxmlformats.org/officeDocument/2006/relationships/tags" Target="../tags/tag4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70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4" Type="http://schemas.openxmlformats.org/officeDocument/2006/relationships/tags" Target="../tags/tag14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10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0.xml"/><Relationship Id="rId4" Type="http://schemas.openxmlformats.org/officeDocument/2006/relationships/image" Target="../media/image10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image" Target="../media/image11.emf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6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4.xml"/><Relationship Id="rId9" Type="http://schemas.openxmlformats.org/officeDocument/2006/relationships/tags" Target="../tags/tag16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0.xml"/><Relationship Id="rId4" Type="http://schemas.openxmlformats.org/officeDocument/2006/relationships/image" Target="../media/image1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1.xml"/><Relationship Id="rId4" Type="http://schemas.openxmlformats.org/officeDocument/2006/relationships/image" Target="../media/image1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2.xml"/><Relationship Id="rId4" Type="http://schemas.openxmlformats.org/officeDocument/2006/relationships/image" Target="../media/image8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5" Type="http://schemas.openxmlformats.org/officeDocument/2006/relationships/tags" Target="../tags/tag180.xml"/><Relationship Id="rId4" Type="http://schemas.openxmlformats.org/officeDocument/2006/relationships/tags" Target="../tags/tag17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0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10.emf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96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5" Type="http://schemas.openxmlformats.org/officeDocument/2006/relationships/tags" Target="../tags/tag20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5" Type="http://schemas.openxmlformats.org/officeDocument/2006/relationships/tags" Target="../tags/tag21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14.xml"/><Relationship Id="rId9" Type="http://schemas.openxmlformats.org/officeDocument/2006/relationships/tags" Target="../tags/tag21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24.xml"/><Relationship Id="rId10" Type="http://schemas.openxmlformats.org/officeDocument/2006/relationships/tags" Target="../tags/tag229.xml"/><Relationship Id="rId4" Type="http://schemas.openxmlformats.org/officeDocument/2006/relationships/tags" Target="../tags/tag223.xml"/><Relationship Id="rId9" Type="http://schemas.openxmlformats.org/officeDocument/2006/relationships/tags" Target="../tags/tag228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34.xml"/><Relationship Id="rId10" Type="http://schemas.openxmlformats.org/officeDocument/2006/relationships/tags" Target="../tags/tag239.xml"/><Relationship Id="rId4" Type="http://schemas.openxmlformats.org/officeDocument/2006/relationships/tags" Target="../tags/tag233.xml"/><Relationship Id="rId9" Type="http://schemas.openxmlformats.org/officeDocument/2006/relationships/tags" Target="../tags/tag238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44.xml"/><Relationship Id="rId10" Type="http://schemas.openxmlformats.org/officeDocument/2006/relationships/tags" Target="../tags/tag249.xml"/><Relationship Id="rId4" Type="http://schemas.openxmlformats.org/officeDocument/2006/relationships/tags" Target="../tags/tag243.xml"/><Relationship Id="rId9" Type="http://schemas.openxmlformats.org/officeDocument/2006/relationships/tags" Target="../tags/tag248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tags" Target="../tags/tag255.xml"/><Relationship Id="rId5" Type="http://schemas.openxmlformats.org/officeDocument/2006/relationships/tags" Target="../tags/tag254.xml"/><Relationship Id="rId4" Type="http://schemas.openxmlformats.org/officeDocument/2006/relationships/tags" Target="../tags/tag25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5" Type="http://schemas.openxmlformats.org/officeDocument/2006/relationships/tags" Target="../tags/tag261.xml"/><Relationship Id="rId4" Type="http://schemas.openxmlformats.org/officeDocument/2006/relationships/tags" Target="../tags/tag260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5" Type="http://schemas.openxmlformats.org/officeDocument/2006/relationships/tags" Target="../tags/tag282.xml"/><Relationship Id="rId4" Type="http://schemas.openxmlformats.org/officeDocument/2006/relationships/tags" Target="../tags/tag28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5" Type="http://schemas.openxmlformats.org/officeDocument/2006/relationships/tags" Target="../tags/tag289.xml"/><Relationship Id="rId4" Type="http://schemas.openxmlformats.org/officeDocument/2006/relationships/tags" Target="../tags/tag28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5" Type="http://schemas.openxmlformats.org/officeDocument/2006/relationships/tags" Target="../tags/tag301.xml"/><Relationship Id="rId4" Type="http://schemas.openxmlformats.org/officeDocument/2006/relationships/tags" Target="../tags/tag300.xml"/><Relationship Id="rId9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5" Type="http://schemas.openxmlformats.org/officeDocument/2006/relationships/tags" Target="../tags/tag315.xml"/><Relationship Id="rId4" Type="http://schemas.openxmlformats.org/officeDocument/2006/relationships/tags" Target="../tags/tag31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5" Type="http://schemas.openxmlformats.org/officeDocument/2006/relationships/tags" Target="../tags/tag321.xml"/><Relationship Id="rId10" Type="http://schemas.openxmlformats.org/officeDocument/2006/relationships/image" Target="../media/image10.emf"/><Relationship Id="rId4" Type="http://schemas.openxmlformats.org/officeDocument/2006/relationships/tags" Target="../tags/tag320.xml"/><Relationship Id="rId9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4.xml"/><Relationship Id="rId4" Type="http://schemas.openxmlformats.org/officeDocument/2006/relationships/image" Target="../media/image10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tags" Target="../tags/tag327.xml"/><Relationship Id="rId7" Type="http://schemas.openxmlformats.org/officeDocument/2006/relationships/tags" Target="../tags/tag331.xml"/><Relationship Id="rId12" Type="http://schemas.openxmlformats.org/officeDocument/2006/relationships/image" Target="../media/image11.emf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tags" Target="../tags/tag330.xml"/><Relationship Id="rId11" Type="http://schemas.openxmlformats.org/officeDocument/2006/relationships/oleObject" Target="../embeddings/oleObject4.bin"/><Relationship Id="rId5" Type="http://schemas.openxmlformats.org/officeDocument/2006/relationships/tags" Target="../tags/tag32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28.xml"/><Relationship Id="rId9" Type="http://schemas.openxmlformats.org/officeDocument/2006/relationships/tags" Target="../tags/tag33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4.xml"/><Relationship Id="rId4" Type="http://schemas.openxmlformats.org/officeDocument/2006/relationships/image" Target="../media/image1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5.xml"/><Relationship Id="rId4" Type="http://schemas.openxmlformats.org/officeDocument/2006/relationships/image" Target="../media/image1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6.xml"/><Relationship Id="rId4" Type="http://schemas.openxmlformats.org/officeDocument/2006/relationships/image" Target="../media/image8.emf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05EA31-1F26-44D6-99A8-702D0F52951F}"/>
              </a:ext>
            </a:extLst>
          </p:cNvPr>
          <p:cNvSpPr/>
          <p:nvPr userDrawn="1"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816000" y="3240000"/>
            <a:ext cx="5005738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816000" y="2040956"/>
            <a:ext cx="5005738" cy="8371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200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7516894" y="148838"/>
            <a:ext cx="130484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0" y="156532"/>
            <a:ext cx="38792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C103AA-93E6-4C23-9DA4-9FEBE6A55434}"/>
              </a:ext>
            </a:extLst>
          </p:cNvPr>
          <p:cNvSpPr/>
          <p:nvPr userDrawn="1"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64D098A-C4CC-4D24-ABF5-5AA9814B58B0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816000" y="4554676"/>
            <a:ext cx="3918299" cy="389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816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6" y="364617"/>
            <a:ext cx="5578475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4500000"/>
            <a:ext cx="5579911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5580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850" y="1150938"/>
            <a:ext cx="5580000" cy="131112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dirty="0"/>
            </a:lvl1pPr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lang="en-US" dirty="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316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2925" y="4500000"/>
            <a:ext cx="52704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338" y="1150938"/>
            <a:ext cx="52704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205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325438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325438" y="1152000"/>
            <a:ext cx="8497887" cy="494494"/>
          </a:xfrm>
          <a:prstGeom prst="rect">
            <a:avLst/>
          </a:prstGeom>
        </p:spPr>
        <p:txBody>
          <a:bodyPr rIns="0">
            <a:spAutoFit/>
          </a:bodyPr>
          <a:lstStyle>
            <a:lvl1pPr marL="360000" indent="-360000">
              <a:spcBef>
                <a:spcPts val="1000"/>
              </a:spcBef>
              <a:spcAft>
                <a:spcPts val="200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8429625" algn="r"/>
              </a:tabLst>
              <a:defRPr sz="1800" b="1" cap="all" baseline="0">
                <a:solidFill>
                  <a:srgbClr val="E60028"/>
                </a:solidFill>
                <a:latin typeface="+mn-lt"/>
              </a:defRPr>
            </a:lvl1pPr>
            <a:lvl2pPr marL="720000" indent="-360000">
              <a:spcBef>
                <a:spcPts val="200"/>
              </a:spcBef>
              <a:buClrTx/>
              <a:buSzPct val="100000"/>
              <a:buFont typeface="+mj-lt"/>
              <a:buAutoNum type="alphaUcPeriod"/>
              <a:tabLst>
                <a:tab pos="8429625" algn="r"/>
              </a:tabLst>
              <a:defRPr sz="1400" cap="none" baseline="0">
                <a:latin typeface="+mn-lt"/>
              </a:defRPr>
            </a:lvl2pPr>
            <a:lvl3pPr marL="360000" indent="0">
              <a:spcBef>
                <a:spcPts val="2800"/>
              </a:spcBef>
              <a:buNone/>
              <a:tabLst>
                <a:tab pos="8429625" algn="r"/>
              </a:tabLst>
              <a:defRPr sz="1400" b="0" cap="all" baseline="0">
                <a:solidFill>
                  <a:srgbClr val="E60028"/>
                </a:solidFill>
              </a:defRPr>
            </a:lvl3pPr>
            <a:lvl4pPr marL="720000" indent="-360000">
              <a:spcBef>
                <a:spcPts val="200"/>
              </a:spcBef>
              <a:buClrTx/>
              <a:buFont typeface="+mj-lt"/>
              <a:buAutoNum type="alphaUcPeriod"/>
              <a:tabLst>
                <a:tab pos="8429625" algn="r"/>
              </a:tabLst>
              <a:defRPr sz="1200" cap="none" baseline="0"/>
            </a:lvl4pPr>
            <a:lvl5pPr marL="540000" indent="0">
              <a:buNone/>
              <a:tabLst>
                <a:tab pos="7988300" algn="r"/>
              </a:tabLst>
              <a:defRPr sz="800" cap="all" baseline="0"/>
            </a:lvl5pPr>
          </a:lstStyle>
          <a:p>
            <a:pPr lvl="0"/>
            <a:r>
              <a:rPr lang="en-US" noProof="0" dirty="0"/>
              <a:t>CLICK TO add section title</a:t>
            </a:r>
          </a:p>
          <a:p>
            <a:pPr lvl="1"/>
            <a:r>
              <a:rPr lang="en-US" noProof="0" dirty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2E0767-2C7B-4A8B-88C1-F85FEC17A762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25438" y="1150938"/>
            <a:ext cx="8497887" cy="1315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9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180000" indent="-18000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00" b="0" i="1">
                <a:solidFill>
                  <a:schemeClr val="tx1"/>
                </a:solidFill>
              </a:defRPr>
            </a:lvl2pPr>
            <a:lvl3pPr marL="360000" indent="-18000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00" i="1"/>
            </a:lvl3pPr>
            <a:lvl4pPr marL="252000" indent="-108000">
              <a:spcBef>
                <a:spcPts val="100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100" i="1"/>
            </a:lvl4pPr>
            <a:lvl5pPr marL="360000" indent="-108000">
              <a:spcBef>
                <a:spcPts val="100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100" i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325438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00000"/>
            <a:ext cx="84960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C1BBD5-C468-4B07-AEDC-B9D783237610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3801" y="2186130"/>
            <a:ext cx="5536800" cy="771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325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C481110C-6B4D-47D9-80B5-EBFE2CE6923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08603" y="2228875"/>
            <a:ext cx="6927196" cy="68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81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R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2">
            <a:extLst>
              <a:ext uri="{FF2B5EF4-FFF2-40B4-BE49-F238E27FC236}">
                <a16:creationId xmlns:a16="http://schemas.microsoft.com/office/drawing/2014/main" id="{FA3B1098-3D29-4365-B5D5-504148392E2A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08603" y="2228875"/>
            <a:ext cx="6927196" cy="68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142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65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D437C6-2429-E582-D5FA-9587C2348F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58974"/>
            <a:ext cx="8496000" cy="236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F9A398-7ECC-30CC-1BC3-9E5BCAA52D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277A8F-D343-1373-7F19-FA192637D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2E774-BB29-477F-B6E1-D729E929226B}" type="datetimeFigureOut">
              <a:rPr lang="ro-RO" smtClean="0"/>
              <a:t>31 mar. 2026</a:t>
            </a:fld>
            <a:endParaRPr lang="ro-R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0E225-B127-1649-53C9-D487F5918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58BF6-9EAE-7907-07F6-76775C11C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235D3-4619-4625-A597-653032105F40}" type="slidenum">
              <a:rPr lang="ro-RO" smtClean="0"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060442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">
            <a:extLst>
              <a:ext uri="{FF2B5EF4-FFF2-40B4-BE49-F238E27FC236}">
                <a16:creationId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60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816000" y="3240000"/>
            <a:ext cx="5005738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816000" y="2040956"/>
            <a:ext cx="5005738" cy="8371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2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7516894" y="148838"/>
            <a:ext cx="130484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0" y="156532"/>
            <a:ext cx="38792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73EC37-AD7B-4ED2-8DBF-BAD7D02E03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99"/>
          <a:stretch/>
        </p:blipFill>
        <p:spPr>
          <a:xfrm>
            <a:off x="3816000" y="4494214"/>
            <a:ext cx="3045797" cy="5307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 userDrawn="1"/>
        </p:nvGrpSpPr>
        <p:grpSpPr>
          <a:xfrm>
            <a:off x="1027608" y="0"/>
            <a:ext cx="8116392" cy="4842933"/>
            <a:chOff x="1130368" y="0"/>
            <a:chExt cx="8928031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674258" rtl="0" eaLnBrk="1" latinLnBrk="0" hangingPunct="1"/>
                <a:endParaRPr lang="ro-RO" sz="1324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</p:grpSp>
        <p:grpSp>
          <p:nvGrpSpPr>
            <p:cNvPr id="3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bg1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9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ro-RO" sz="1456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2378616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>
              <a:defRPr lang="ro-RO" sz="596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9EBD5762-3BDC-484D-9503-7EA6D5A9A8CE}" type="slidenum">
              <a:rPr lang="ro-RO" smtClean="0"/>
              <a:pPr algn="r"/>
              <a:t>‹#›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5314638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482138" y="1464384"/>
            <a:ext cx="8179724" cy="2922719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1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361223" y="4831820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14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18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0710909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3" progId="TCLayout.ActiveDocument.1">
                  <p:embed/>
                </p:oleObj>
              </mc:Choice>
              <mc:Fallback>
                <p:oleObj name="think-cell Slide" r:id="rId12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482138" y="1464384"/>
            <a:ext cx="4023360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3"/>
            </p:custDataLst>
          </p:nvPr>
        </p:nvSpPr>
        <p:spPr>
          <a:xfrm>
            <a:off x="4638502" y="1464384"/>
            <a:ext cx="4023360" cy="2922719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38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41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781694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464384"/>
            <a:ext cx="5403273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026727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5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9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691141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258589" y="1464384"/>
            <a:ext cx="5403273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5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9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2409611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464385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82138" y="2977180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4638502" y="1464384"/>
            <a:ext cx="4023360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7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4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1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0549631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dirty="0"/>
              <a:t>Insert banner </a:t>
            </a:r>
            <a:r>
              <a:rPr lang="ro-RO" dirty="0" err="1"/>
              <a:t>statement</a:t>
            </a:r>
            <a:r>
              <a:rPr lang="ro-RO" dirty="0"/>
              <a:t> </a:t>
            </a:r>
            <a:r>
              <a:rPr lang="ro-RO" dirty="0" err="1"/>
              <a:t>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2138" y="1464384"/>
            <a:ext cx="4023360" cy="2922719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638502" y="1464385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2" y="2977180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2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1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4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1341884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258589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026727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0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5788496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464385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464385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2977180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2977180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8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0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1606077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464385"/>
            <a:ext cx="8179724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482138" y="2977180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4638502" y="2977180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1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4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2227118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2512800"/>
            <a:ext cx="396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200" b="1" spc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08000" y="1378800"/>
            <a:ext cx="617157" cy="863313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6600" cap="all" spc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05800" lvl="0" indent="-6858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8000" y="3628800"/>
            <a:ext cx="396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184000" y="0"/>
            <a:ext cx="396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387653" y="2250000"/>
            <a:ext cx="5218281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C864459D-56D5-46A2-9CC1-32C74DCC5AA9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11174" y="4619689"/>
            <a:ext cx="2929399" cy="390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464385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464385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482022" y="2977180"/>
            <a:ext cx="8179724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1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4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4255991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9" y="1464385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256425" y="1464385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026727" y="1464385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82139" y="2977180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256425" y="2977180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026727" y="2977180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9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0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41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2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1293866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2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4" name="PwC Text"/>
          <p:cNvSpPr txBox="1"/>
          <p:nvPr userDrawn="1"/>
        </p:nvSpPr>
        <p:spPr>
          <a:xfrm>
            <a:off x="488978" y="4822789"/>
            <a:ext cx="249382" cy="8427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6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7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8798900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" name="PwC Text"/>
          <p:cNvSpPr txBox="1"/>
          <p:nvPr userDrawn="1"/>
        </p:nvSpPr>
        <p:spPr>
          <a:xfrm>
            <a:off x="488978" y="4822789"/>
            <a:ext cx="249382" cy="8427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6111728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noProof="0" dirty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wC Text"/>
          <p:cNvSpPr txBox="1"/>
          <p:nvPr userDrawn="1"/>
        </p:nvSpPr>
        <p:spPr>
          <a:xfrm>
            <a:off x="488978" y="4822789"/>
            <a:ext cx="249382" cy="8427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9765512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82138" y="1044576"/>
            <a:ext cx="8179724" cy="325882"/>
          </a:xfrm>
        </p:spPr>
        <p:txBody>
          <a:bodyPr wrap="square" tIns="0" bIns="0" anchor="t">
            <a:spAutoFit/>
          </a:bodyPr>
          <a:lstStyle>
            <a:lvl1pPr algn="l">
              <a:defRPr sz="2118" b="1" i="1" cap="none">
                <a:solidFill>
                  <a:schemeClr val="tx1"/>
                </a:solidFill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add</a:t>
            </a:r>
            <a:r>
              <a:rPr lang="ro-RO" noProof="0" dirty="0"/>
              <a:t> </a:t>
            </a:r>
            <a:r>
              <a:rPr lang="ro-RO" noProof="0" dirty="0" err="1"/>
              <a:t>Section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8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482138" y="719471"/>
            <a:ext cx="8179724" cy="285882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118" b="0" i="0">
                <a:solidFill>
                  <a:schemeClr val="tx1"/>
                </a:solidFill>
                <a:latin typeface="+mj-lt"/>
              </a:defRPr>
            </a:lvl1pPr>
            <a:lvl2pPr marL="337129" indent="0">
              <a:buNone/>
              <a:defRPr sz="1324">
                <a:solidFill>
                  <a:schemeClr val="tx1">
                    <a:tint val="75000"/>
                  </a:schemeClr>
                </a:solidFill>
              </a:defRPr>
            </a:lvl2pPr>
            <a:lvl3pPr marL="67425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3pPr>
            <a:lvl4pPr marL="1011387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4pPr>
            <a:lvl5pPr marL="1348516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5pPr>
            <a:lvl6pPr marL="1685645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6pPr>
            <a:lvl7pPr marL="202277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7pPr>
            <a:lvl8pPr marL="235990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8pPr>
            <a:lvl9pPr marL="2697032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</a:t>
            </a:r>
            <a:r>
              <a:rPr lang="ro-RO" noProof="0" dirty="0" err="1"/>
              <a:t>Section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10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8632" y="4722779"/>
            <a:ext cx="4015047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46364" y="678971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5502249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82138" y="1044975"/>
            <a:ext cx="8179724" cy="325882"/>
          </a:xfrm>
        </p:spPr>
        <p:txBody>
          <a:bodyPr wrap="square" tIns="0" bIns="0" anchor="t">
            <a:spAutoFit/>
          </a:bodyPr>
          <a:lstStyle>
            <a:lvl1pPr algn="l">
              <a:defRPr sz="2118" b="1" i="1" cap="none" baseline="0">
                <a:latin typeface="+mj-lt"/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add</a:t>
            </a:r>
            <a:r>
              <a:rPr lang="ro-RO" noProof="0" dirty="0"/>
              <a:t> </a:t>
            </a:r>
            <a:r>
              <a:rPr lang="ro-RO" noProof="0" dirty="0" err="1"/>
              <a:t>Appendix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11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9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482138" y="719471"/>
            <a:ext cx="8179724" cy="285882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118" b="0" i="0">
                <a:solidFill>
                  <a:schemeClr val="tx1"/>
                </a:solidFill>
                <a:latin typeface="+mj-lt"/>
              </a:defRPr>
            </a:lvl1pPr>
            <a:lvl2pPr marL="337129" indent="0">
              <a:buNone/>
              <a:defRPr sz="1324">
                <a:solidFill>
                  <a:schemeClr val="tx1">
                    <a:tint val="75000"/>
                  </a:schemeClr>
                </a:solidFill>
              </a:defRPr>
            </a:lvl2pPr>
            <a:lvl3pPr marL="67425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3pPr>
            <a:lvl4pPr marL="1011387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4pPr>
            <a:lvl5pPr marL="1348516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5pPr>
            <a:lvl6pPr marL="1685645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6pPr>
            <a:lvl7pPr marL="202277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7pPr>
            <a:lvl8pPr marL="235990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8pPr>
            <a:lvl9pPr marL="2697032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</a:t>
            </a:r>
            <a:r>
              <a:rPr lang="ro-RO" noProof="0" dirty="0" err="1"/>
              <a:t>Appendix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12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8632" y="4722779"/>
            <a:ext cx="4015047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678971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9613486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027608" y="0"/>
            <a:ext cx="8116392" cy="4842933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674258" rtl="0" eaLnBrk="1" latinLnBrk="0" hangingPunct="1"/>
                <a:endParaRPr lang="ro-RO" sz="1324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bg1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9" y="2874309"/>
            <a:ext cx="1113905" cy="17405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71471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482139" y="3073998"/>
            <a:ext cx="1113905" cy="859267"/>
          </a:xfrm>
        </p:spPr>
        <p:txBody>
          <a:bodyPr/>
          <a:lstStyle>
            <a:lvl1pPr>
              <a:defRPr sz="662" i="1"/>
            </a:lvl1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nter</a:t>
            </a:r>
            <a:r>
              <a:rPr lang="ro-RO" noProof="0" dirty="0"/>
              <a:t> text</a:t>
            </a: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ro-RO" sz="1456" noProof="0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70128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Logo with Panels"/>
          <p:cNvGrpSpPr/>
          <p:nvPr userDrawn="1"/>
        </p:nvGrpSpPr>
        <p:grpSpPr>
          <a:xfrm>
            <a:off x="1027608" y="4230670"/>
            <a:ext cx="1107260" cy="612263"/>
            <a:chOff x="3835013" y="2828854"/>
            <a:chExt cx="1217986" cy="925197"/>
          </a:xfrm>
        </p:grpSpPr>
        <p:grpSp>
          <p:nvGrpSpPr>
            <p:cNvPr id="47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black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tx1"/>
              </a:solidFill>
            </a:endParaRPr>
          </a:p>
        </p:txBody>
      </p:sp>
      <p:sp>
        <p:nvSpPr>
          <p:cNvPr id="2" name="Repo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black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black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tx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72" name="Frame Line"/>
          <p:cNvCxnSpPr/>
          <p:nvPr userDrawn="1"/>
        </p:nvCxnSpPr>
        <p:spPr bwMode="black">
          <a:xfrm flipV="1">
            <a:off x="1731819" y="754906"/>
            <a:ext cx="6923050" cy="95294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rame Line"/>
          <p:cNvCxnSpPr/>
          <p:nvPr userDrawn="1"/>
        </p:nvCxnSpPr>
        <p:spPr bwMode="black">
          <a:xfrm flipV="1">
            <a:off x="346364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2806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027608" y="0"/>
            <a:ext cx="8116393" cy="4842933"/>
            <a:chOff x="1130368" y="0"/>
            <a:chExt cx="8928032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</p:grpSp>
        <p:grpSp>
          <p:nvGrpSpPr>
            <p:cNvPr id="2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3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bg1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2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2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9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cxnSp>
        <p:nvCxnSpPr>
          <p:cNvPr id="17" name="Frame Line"/>
          <p:cNvCxnSpPr/>
          <p:nvPr userDrawn="1"/>
        </p:nvCxnSpPr>
        <p:spPr bwMode="black">
          <a:xfrm flipV="1">
            <a:off x="346364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0906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2512800"/>
            <a:ext cx="396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200" b="1" spc="0" noProof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08000" y="1378800"/>
            <a:ext cx="617157" cy="863313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6600" cap="all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05800" lvl="0" indent="-6858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8000" y="3628800"/>
            <a:ext cx="396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84000" y="0"/>
            <a:ext cx="396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1069E1-928B-4E39-8998-56326ABD0933}"/>
              </a:ext>
            </a:extLst>
          </p:cNvPr>
          <p:cNvSpPr/>
          <p:nvPr userDrawn="1"/>
        </p:nvSpPr>
        <p:spPr>
          <a:xfrm>
            <a:off x="387653" y="2250000"/>
            <a:ext cx="3204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2" name="Logo SG">
            <a:extLst>
              <a:ext uri="{FF2B5EF4-FFF2-40B4-BE49-F238E27FC236}">
                <a16:creationId xmlns:a16="http://schemas.microsoft.com/office/drawing/2014/main" id="{0D4B289A-E6DD-43CB-B81A-D39B8675B6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438" y="4698423"/>
            <a:ext cx="1100931" cy="2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7309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79230" y="4840941"/>
            <a:ext cx="290945" cy="1028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1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ro-RO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258590" y="4738072"/>
            <a:ext cx="65" cy="9169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82139" y="4689662"/>
            <a:ext cx="8179724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2139" y="4738034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617557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18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>
              <a:defRPr lang="ro-RO" sz="596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9EBD5762-3BDC-484D-9503-7EA6D5A9A8CE}" type="slidenum">
              <a:rPr lang="ro-RO" smtClean="0"/>
              <a:pPr algn="r"/>
              <a:t>‹#›</a:t>
            </a:fld>
            <a:endParaRPr lang="ro-RO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1" y="4743450"/>
            <a:ext cx="1524000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lang="ro-RO" sz="596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2821871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</a:t>
            </a:r>
            <a:r>
              <a:rPr lang="ro-RO" dirty="0" err="1"/>
              <a:t>title</a:t>
            </a:r>
            <a:r>
              <a:rPr lang="ro-RO" dirty="0"/>
              <a:t> </a:t>
            </a:r>
            <a:r>
              <a:rPr lang="ro-RO" dirty="0" err="1"/>
              <a:t>style</a:t>
            </a:r>
            <a:endParaRPr lang="ro-R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o-RO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CEDF2D9-7F27-48E4-9A6B-248D2CEC96E8}" type="slidenum">
              <a:rPr lang="ro-RO" altLang="en-US" smtClean="0"/>
              <a:pPr/>
              <a:t>‹#›</a:t>
            </a:fld>
            <a:endParaRPr lang="ro-RO" altLang="en-US" dirty="0"/>
          </a:p>
        </p:txBody>
      </p:sp>
    </p:spTree>
    <p:extLst>
      <p:ext uri="{BB962C8B-B14F-4D97-AF65-F5344CB8AC3E}">
        <p14:creationId xmlns:p14="http://schemas.microsoft.com/office/powerpoint/2010/main" val="2628915396"/>
      </p:ext>
    </p:extLst>
  </p:cSld>
  <p:clrMapOvr>
    <a:masterClrMapping/>
  </p:clrMapOvr>
  <p:transition advClick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191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ro-RO" noProof="0" dirty="0"/>
              <a:t>Insert banner statement 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361515"/>
            <a:ext cx="4023360" cy="1010546"/>
          </a:xfrm>
        </p:spPr>
        <p:txBody>
          <a:bodyPr/>
          <a:lstStyle/>
          <a:p>
            <a:pPr lvl="0"/>
            <a:r>
              <a:rPr lang="ro-RO" dirty="0"/>
              <a:t>Edit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361515"/>
            <a:ext cx="4023360" cy="1010546"/>
          </a:xfrm>
        </p:spPr>
        <p:txBody>
          <a:bodyPr/>
          <a:lstStyle/>
          <a:p>
            <a:pPr lvl="0"/>
            <a:r>
              <a:rPr lang="ro-RO" dirty="0"/>
              <a:t>Edit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2470897"/>
            <a:ext cx="8179724" cy="2117912"/>
          </a:xfrm>
        </p:spPr>
        <p:txBody>
          <a:bodyPr/>
          <a:lstStyle/>
          <a:p>
            <a:pPr lvl="0"/>
            <a:r>
              <a:rPr lang="ro-RO" dirty="0"/>
              <a:t>Edit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3" name="PwC Text"/>
          <p:cNvSpPr txBox="1"/>
          <p:nvPr userDrawn="1"/>
        </p:nvSpPr>
        <p:spPr>
          <a:xfrm>
            <a:off x="482139" y="4840942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79230" y="4840941"/>
            <a:ext cx="290945" cy="1028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46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ro-RO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258590" y="4738072"/>
            <a:ext cx="65" cy="9169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482139" y="4689662"/>
            <a:ext cx="8179724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>
            <a:off x="481092" y="1311089"/>
            <a:ext cx="817854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2139" y="4738034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3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7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258590" y="4829654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o-RO" sz="596" noProof="1"/>
              <a:t>Draft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46364" y="617557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27251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314450"/>
            <a:ext cx="8077200" cy="3314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2" name="TextBox 31"/>
          <p:cNvSpPr txBox="1"/>
          <p:nvPr/>
        </p:nvSpPr>
        <p:spPr>
          <a:xfrm>
            <a:off x="533400" y="4857752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546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ro-RO" smtClean="0"/>
              <a:t>‹#›</a:t>
            </a:fld>
            <a:endParaRPr lang="ro-RO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5091533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1"/>
            <a:ext cx="8077200" cy="685800"/>
          </a:xfrm>
        </p:spPr>
        <p:txBody>
          <a:bodyPr/>
          <a:lstStyle/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314453"/>
            <a:ext cx="2590800" cy="3314699"/>
          </a:xfrm>
        </p:spPr>
        <p:txBody>
          <a:bodyPr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3" y="1314453"/>
            <a:ext cx="2590799" cy="3314699"/>
          </a:xfrm>
        </p:spPr>
        <p:txBody>
          <a:bodyPr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314453"/>
            <a:ext cx="2590800" cy="3314699"/>
          </a:xfrm>
        </p:spPr>
        <p:txBody>
          <a:bodyPr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7" name="TextBox 36"/>
          <p:cNvSpPr txBox="1"/>
          <p:nvPr/>
        </p:nvSpPr>
        <p:spPr>
          <a:xfrm>
            <a:off x="533400" y="4857752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546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ro-RO" smtClean="0"/>
              <a:t>‹#›</a:t>
            </a:fld>
            <a:endParaRPr lang="ro-RO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9848720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314452"/>
            <a:ext cx="3962400" cy="3314699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3" y="1314450"/>
            <a:ext cx="3962399" cy="33147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3" name="TextBox 32"/>
          <p:cNvSpPr txBox="1"/>
          <p:nvPr/>
        </p:nvSpPr>
        <p:spPr>
          <a:xfrm>
            <a:off x="533400" y="4857751"/>
            <a:ext cx="2590800" cy="1143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728" noProof="0" dirty="0">
                <a:latin typeface="+mj-lt"/>
                <a:cs typeface="Arial" pitchFamily="34" charset="0"/>
              </a:rPr>
              <a:t>PwC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fld id="{9EBD5762-3BDC-484D-9503-7EA6D5A9A8CE}" type="slidenum">
              <a:rPr lang="ro-RO" smtClean="0"/>
              <a:pPr/>
              <a:t>‹#›</a:t>
            </a:fld>
            <a:endParaRPr lang="ro-RO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  <p:cxnSp>
        <p:nvCxnSpPr>
          <p:cNvPr id="12" name="Shape 11"/>
          <p:cNvCxnSpPr/>
          <p:nvPr userDrawn="1"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8186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314450"/>
            <a:ext cx="8077200" cy="3314700"/>
          </a:xfrm>
        </p:spPr>
        <p:txBody>
          <a:bodyPr/>
          <a:lstStyle>
            <a:lvl1pPr>
              <a:defRPr baseline="0"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2" name="TextBox 31"/>
          <p:cNvSpPr txBox="1"/>
          <p:nvPr/>
        </p:nvSpPr>
        <p:spPr>
          <a:xfrm>
            <a:off x="533400" y="4857751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728" noProof="0" dirty="0">
                <a:latin typeface="+mj-lt"/>
                <a:cs typeface="Arial" pitchFamily="34" charset="0"/>
              </a:rPr>
              <a:t>PwC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fld id="{9EBD5762-3BDC-484D-9503-7EA6D5A9A8CE}" type="slidenum">
              <a:rPr lang="ro-RO" smtClean="0"/>
              <a:pPr/>
              <a:t>‹#›</a:t>
            </a:fld>
            <a:endParaRPr lang="ro-RO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823418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962026" y="1209675"/>
            <a:ext cx="2066925" cy="2066925"/>
          </a:xfrm>
          <a:prstGeom prst="teardrop">
            <a:avLst>
              <a:gd name="adj" fmla="val 45622"/>
            </a:avLst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3538538" y="1209675"/>
            <a:ext cx="2066925" cy="2066925"/>
          </a:xfrm>
          <a:prstGeom prst="teardrop">
            <a:avLst>
              <a:gd name="adj" fmla="val 45622"/>
            </a:avLst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115050" y="1209675"/>
            <a:ext cx="2066925" cy="2066925"/>
          </a:xfrm>
          <a:prstGeom prst="teardrop">
            <a:avLst>
              <a:gd name="adj" fmla="val 45622"/>
            </a:avLst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15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D6857-A5AA-4C9A-BBE5-F467C902A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724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 userDrawn="1"/>
        </p:nvGrpSpPr>
        <p:grpSpPr>
          <a:xfrm>
            <a:off x="1027608" y="0"/>
            <a:ext cx="8116392" cy="4842933"/>
            <a:chOff x="1130368" y="0"/>
            <a:chExt cx="8928031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674258" rtl="0" eaLnBrk="1" latinLnBrk="0" hangingPunct="1"/>
                <a:endParaRPr lang="ro-RO" sz="1324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</p:grpSp>
        <p:grpSp>
          <p:nvGrpSpPr>
            <p:cNvPr id="3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bg1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9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ro-RO" sz="1456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2378616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>
              <a:defRPr lang="ro-RO" sz="596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9EBD5762-3BDC-484D-9503-7EA6D5A9A8CE}" type="slidenum">
              <a:rPr lang="ro-RO" smtClean="0"/>
              <a:pPr algn="r"/>
              <a:t>‹#›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7028158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92000" y="1575451"/>
            <a:ext cx="396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200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2000" y="2728016"/>
            <a:ext cx="396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184000" y="0"/>
            <a:ext cx="396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387653" y="2491988"/>
            <a:ext cx="5218281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84F727C-8630-471B-BB3B-CFC13B9CEB1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95274" y="4619689"/>
            <a:ext cx="2929399" cy="39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8133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482138" y="1464384"/>
            <a:ext cx="8179724" cy="2922719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1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361223" y="4831820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14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18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5598596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3" progId="TCLayout.ActiveDocument.1">
                  <p:embed/>
                </p:oleObj>
              </mc:Choice>
              <mc:Fallback>
                <p:oleObj name="think-cell Slide" r:id="rId12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482138" y="1464384"/>
            <a:ext cx="4023360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3"/>
            </p:custDataLst>
          </p:nvPr>
        </p:nvSpPr>
        <p:spPr>
          <a:xfrm>
            <a:off x="4638502" y="1464384"/>
            <a:ext cx="4023360" cy="2922719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38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41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3041322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464384"/>
            <a:ext cx="5403273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026727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5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9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5355878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258589" y="1464384"/>
            <a:ext cx="5403273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5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9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42530954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464385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82138" y="2977180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4638502" y="1464384"/>
            <a:ext cx="4023360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7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4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1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7620048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dirty="0"/>
              <a:t>Insert banner </a:t>
            </a:r>
            <a:r>
              <a:rPr lang="ro-RO" dirty="0" err="1"/>
              <a:t>statement</a:t>
            </a:r>
            <a:r>
              <a:rPr lang="ro-RO" dirty="0"/>
              <a:t> </a:t>
            </a:r>
            <a:r>
              <a:rPr lang="ro-RO" dirty="0" err="1"/>
              <a:t>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2138" y="1464384"/>
            <a:ext cx="4023360" cy="2922719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638502" y="1464385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2" y="2977180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2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1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4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8241938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258589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026727" y="1464384"/>
            <a:ext cx="2635135" cy="2922719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0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9270747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464385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464385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2977180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2977180"/>
            <a:ext cx="4023360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8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0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9816310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464385"/>
            <a:ext cx="8179724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482138" y="2977180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4638502" y="2977180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1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4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4552663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464385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464385"/>
            <a:ext cx="4023360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482022" y="2977180"/>
            <a:ext cx="8179724" cy="1409924"/>
          </a:xfrm>
        </p:spPr>
        <p:txBody>
          <a:bodyPr/>
          <a:lstStyle/>
          <a:p>
            <a:pPr lvl="0"/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1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4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4246235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92000" y="1576800"/>
            <a:ext cx="414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200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2000" y="2728800"/>
            <a:ext cx="414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subsection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F5A6D089-4F00-427C-9F3B-72C8307ECF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84000" y="0"/>
            <a:ext cx="396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6ED1B9-9D93-4DC5-9C26-E085B3ECE031}"/>
              </a:ext>
            </a:extLst>
          </p:cNvPr>
          <p:cNvSpPr/>
          <p:nvPr userDrawn="1"/>
        </p:nvSpPr>
        <p:spPr>
          <a:xfrm>
            <a:off x="387653" y="748913"/>
            <a:ext cx="3204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1" name="Picture 10" descr="logo_SG.wmf">
            <a:extLst>
              <a:ext uri="{FF2B5EF4-FFF2-40B4-BE49-F238E27FC236}">
                <a16:creationId xmlns:a16="http://schemas.microsoft.com/office/drawing/2014/main" id="{AE6C9EE2-C878-48AA-99F1-7C39908319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000" y="4616513"/>
            <a:ext cx="1798638" cy="35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7065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9" y="1464385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256425" y="1464385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026727" y="1464385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82139" y="2977180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256425" y="2977180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026727" y="2977180"/>
            <a:ext cx="2635135" cy="1409924"/>
          </a:xfrm>
        </p:spPr>
        <p:txBody>
          <a:bodyPr tIns="0" bIns="0"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9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0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41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32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2893937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dirty="0"/>
          </a:p>
        </p:txBody>
      </p:sp>
      <p:sp>
        <p:nvSpPr>
          <p:cNvPr id="2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24" name="PwC Text"/>
          <p:cNvSpPr txBox="1"/>
          <p:nvPr userDrawn="1"/>
        </p:nvSpPr>
        <p:spPr>
          <a:xfrm>
            <a:off x="488978" y="4822789"/>
            <a:ext cx="249382" cy="8427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6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4638502" y="4815374"/>
            <a:ext cx="2951018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ro-RO" sz="596" noProof="1"/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27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482136" y="4586792"/>
            <a:ext cx="65" cy="1410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59"/>
              </a:lnSpc>
            </a:pPr>
            <a:endParaRPr lang="ro-RO" sz="1059" noProof="1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8427570" y="532504"/>
            <a:ext cx="221214" cy="1222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o-RO" sz="794" noProof="1"/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562760"/>
            <a:ext cx="4987637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999513" y="35664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356376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" name="PwC Text"/>
          <p:cNvSpPr txBox="1"/>
          <p:nvPr userDrawn="1"/>
        </p:nvSpPr>
        <p:spPr>
          <a:xfrm>
            <a:off x="488978" y="4822789"/>
            <a:ext cx="249382" cy="8427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32420138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o-RO" noProof="0" dirty="0"/>
              <a:t>Insert banner </a:t>
            </a:r>
            <a:r>
              <a:rPr lang="ro-RO" noProof="0" dirty="0" err="1"/>
              <a:t>statement</a:t>
            </a:r>
            <a:r>
              <a:rPr lang="ro-RO" noProof="0" dirty="0"/>
              <a:t> </a:t>
            </a:r>
            <a:r>
              <a:rPr lang="ro-RO" noProof="0" dirty="0" err="1"/>
              <a:t>here</a:t>
            </a:r>
            <a:endParaRPr lang="ro-RO" noProof="0" dirty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46364" y="680014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wC Text"/>
          <p:cNvSpPr txBox="1"/>
          <p:nvPr userDrawn="1"/>
        </p:nvSpPr>
        <p:spPr>
          <a:xfrm>
            <a:off x="488978" y="4822789"/>
            <a:ext cx="249382" cy="8427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3034691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82138" y="1044576"/>
            <a:ext cx="8179724" cy="325882"/>
          </a:xfrm>
        </p:spPr>
        <p:txBody>
          <a:bodyPr wrap="square" tIns="0" bIns="0" anchor="t">
            <a:spAutoFit/>
          </a:bodyPr>
          <a:lstStyle>
            <a:lvl1pPr algn="l">
              <a:defRPr sz="2118" b="1" i="1" cap="none">
                <a:solidFill>
                  <a:schemeClr val="tx1"/>
                </a:solidFill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add</a:t>
            </a:r>
            <a:r>
              <a:rPr lang="ro-RO" noProof="0" dirty="0"/>
              <a:t> </a:t>
            </a:r>
            <a:r>
              <a:rPr lang="ro-RO" noProof="0" dirty="0" err="1"/>
              <a:t>Section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8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482138" y="719471"/>
            <a:ext cx="8179724" cy="285882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118" b="0" i="0">
                <a:solidFill>
                  <a:schemeClr val="tx1"/>
                </a:solidFill>
                <a:latin typeface="+mj-lt"/>
              </a:defRPr>
            </a:lvl1pPr>
            <a:lvl2pPr marL="337129" indent="0">
              <a:buNone/>
              <a:defRPr sz="1324">
                <a:solidFill>
                  <a:schemeClr val="tx1">
                    <a:tint val="75000"/>
                  </a:schemeClr>
                </a:solidFill>
              </a:defRPr>
            </a:lvl2pPr>
            <a:lvl3pPr marL="67425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3pPr>
            <a:lvl4pPr marL="1011387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4pPr>
            <a:lvl5pPr marL="1348516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5pPr>
            <a:lvl6pPr marL="1685645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6pPr>
            <a:lvl7pPr marL="202277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7pPr>
            <a:lvl8pPr marL="235990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8pPr>
            <a:lvl9pPr marL="2697032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</a:t>
            </a:r>
            <a:r>
              <a:rPr lang="ro-RO" noProof="0" dirty="0" err="1"/>
              <a:t>Section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10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8632" y="4722779"/>
            <a:ext cx="4015047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46364" y="678971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4685211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82138" y="1044975"/>
            <a:ext cx="8179724" cy="325882"/>
          </a:xfrm>
        </p:spPr>
        <p:txBody>
          <a:bodyPr wrap="square" tIns="0" bIns="0" anchor="t">
            <a:spAutoFit/>
          </a:bodyPr>
          <a:lstStyle>
            <a:lvl1pPr algn="l">
              <a:defRPr sz="2118" b="1" i="1" cap="none" baseline="0">
                <a:latin typeface="+mj-lt"/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add</a:t>
            </a:r>
            <a:r>
              <a:rPr lang="ro-RO" noProof="0" dirty="0"/>
              <a:t> </a:t>
            </a:r>
            <a:r>
              <a:rPr lang="ro-RO" noProof="0" dirty="0" err="1"/>
              <a:t>Appendix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11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61223" y="4822788"/>
            <a:ext cx="290945" cy="704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9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482138" y="719471"/>
            <a:ext cx="8179724" cy="285882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118" b="0" i="0">
                <a:solidFill>
                  <a:schemeClr val="tx1"/>
                </a:solidFill>
                <a:latin typeface="+mj-lt"/>
              </a:defRPr>
            </a:lvl1pPr>
            <a:lvl2pPr marL="337129" indent="0">
              <a:buNone/>
              <a:defRPr sz="1324">
                <a:solidFill>
                  <a:schemeClr val="tx1">
                    <a:tint val="75000"/>
                  </a:schemeClr>
                </a:solidFill>
              </a:defRPr>
            </a:lvl2pPr>
            <a:lvl3pPr marL="67425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3pPr>
            <a:lvl4pPr marL="1011387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4pPr>
            <a:lvl5pPr marL="1348516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5pPr>
            <a:lvl6pPr marL="1685645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6pPr>
            <a:lvl7pPr marL="202277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7pPr>
            <a:lvl8pPr marL="235990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8pPr>
            <a:lvl9pPr marL="2697032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</a:t>
            </a:r>
            <a:r>
              <a:rPr lang="ro-RO" noProof="0" dirty="0" err="1"/>
              <a:t>Appendix</a:t>
            </a:r>
            <a:r>
              <a:rPr lang="ro-RO" noProof="0" dirty="0"/>
              <a:t> </a:t>
            </a:r>
            <a:r>
              <a:rPr lang="ro-RO" noProof="0" dirty="0" err="1"/>
              <a:t>Divider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12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8632" y="4722779"/>
            <a:ext cx="4015047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8632" y="4634950"/>
            <a:ext cx="7340138" cy="916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678971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1882925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027608" y="0"/>
            <a:ext cx="8116392" cy="4842933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674258" rtl="0" eaLnBrk="1" latinLnBrk="0" hangingPunct="1"/>
                <a:endParaRPr lang="ro-RO" sz="1324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bg1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9" y="2874309"/>
            <a:ext cx="1113905" cy="17405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71471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482139" y="3073998"/>
            <a:ext cx="1113905" cy="859267"/>
          </a:xfrm>
        </p:spPr>
        <p:txBody>
          <a:bodyPr/>
          <a:lstStyle>
            <a:lvl1pPr>
              <a:defRPr sz="662" i="1"/>
            </a:lvl1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nter</a:t>
            </a:r>
            <a:r>
              <a:rPr lang="ro-RO" noProof="0" dirty="0"/>
              <a:t> text</a:t>
            </a: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ro-RO" sz="1456" noProof="0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7713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Logo with Panels"/>
          <p:cNvGrpSpPr/>
          <p:nvPr userDrawn="1"/>
        </p:nvGrpSpPr>
        <p:grpSpPr>
          <a:xfrm>
            <a:off x="1027608" y="4230670"/>
            <a:ext cx="1107260" cy="612263"/>
            <a:chOff x="3835013" y="2828854"/>
            <a:chExt cx="1217986" cy="925197"/>
          </a:xfrm>
        </p:grpSpPr>
        <p:grpSp>
          <p:nvGrpSpPr>
            <p:cNvPr id="47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black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tx1"/>
              </a:solidFill>
            </a:endParaRPr>
          </a:p>
        </p:txBody>
      </p:sp>
      <p:sp>
        <p:nvSpPr>
          <p:cNvPr id="2" name="Repo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black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black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tx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72" name="Frame Line"/>
          <p:cNvCxnSpPr/>
          <p:nvPr userDrawn="1"/>
        </p:nvCxnSpPr>
        <p:spPr bwMode="black">
          <a:xfrm flipV="1">
            <a:off x="1731819" y="754906"/>
            <a:ext cx="6923050" cy="95294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rame Line"/>
          <p:cNvCxnSpPr/>
          <p:nvPr userDrawn="1"/>
        </p:nvCxnSpPr>
        <p:spPr bwMode="black">
          <a:xfrm flipV="1">
            <a:off x="346364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45419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027608" y="0"/>
            <a:ext cx="8116393" cy="4842933"/>
            <a:chOff x="1130368" y="0"/>
            <a:chExt cx="8928032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ro-RO" sz="1191" noProof="0" dirty="0"/>
              </a:p>
            </p:txBody>
          </p:sp>
        </p:grpSp>
        <p:grpSp>
          <p:nvGrpSpPr>
            <p:cNvPr id="2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3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51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o-RO" sz="119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5" y="556709"/>
            <a:ext cx="65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endParaRPr lang="ro-RO" sz="662" dirty="0">
              <a:solidFill>
                <a:schemeClr val="bg1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69835" y="834510"/>
            <a:ext cx="5403273" cy="329702"/>
          </a:xfrm>
        </p:spPr>
        <p:txBody>
          <a:bodyPr vert="horz" lIns="0" tIns="0" rIns="0" bIns="36000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noProof="0" dirty="0"/>
              <a:t>Report </a:t>
            </a:r>
            <a:r>
              <a:rPr lang="ro-RO" noProof="0" dirty="0" err="1"/>
              <a:t>Title</a:t>
            </a:r>
            <a:endParaRPr lang="ro-RO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69835" y="1159809"/>
            <a:ext cx="5403273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noProof="0" dirty="0" err="1"/>
              <a:t>Subtitle</a:t>
            </a:r>
            <a:endParaRPr lang="ro-RO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9" y="2468881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sp>
        <p:nvSpPr>
          <p:cNvPr id="2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ro-RO" sz="662" b="1" i="1" dirty="0">
              <a:latin typeface="Georgia" pitchFamily="18" charset="0"/>
            </a:endParaRPr>
          </a:p>
        </p:txBody>
      </p:sp>
      <p:sp>
        <p:nvSpPr>
          <p:cNvPr id="2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9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ro-RO" sz="662" i="1" dirty="0">
              <a:latin typeface="Georgia" pitchFamily="18" charset="0"/>
            </a:endParaRPr>
          </a:p>
        </p:txBody>
      </p:sp>
      <p:cxnSp>
        <p:nvCxnSpPr>
          <p:cNvPr id="17" name="Frame Line"/>
          <p:cNvCxnSpPr/>
          <p:nvPr userDrawn="1"/>
        </p:nvCxnSpPr>
        <p:spPr bwMode="black">
          <a:xfrm flipV="1">
            <a:off x="346364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7377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79230" y="4840941"/>
            <a:ext cx="290945" cy="1028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1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ro-RO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258590" y="4738072"/>
            <a:ext cx="65" cy="9169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82139" y="4689662"/>
            <a:ext cx="8179724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2139" y="4738034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617557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18" name="PwC Text"/>
          <p:cNvSpPr txBox="1"/>
          <p:nvPr userDrawn="1"/>
        </p:nvSpPr>
        <p:spPr>
          <a:xfrm>
            <a:off x="488978" y="4822788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>
              <a:defRPr lang="ro-RO" sz="596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9EBD5762-3BDC-484D-9503-7EA6D5A9A8CE}" type="slidenum">
              <a:rPr lang="ro-RO" smtClean="0"/>
              <a:pPr algn="r"/>
              <a:t>‹#›</a:t>
            </a:fld>
            <a:endParaRPr lang="ro-RO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1" y="4743450"/>
            <a:ext cx="1524000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lang="ro-RO" sz="596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680783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7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00000"/>
            <a:ext cx="84960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Click </a:t>
            </a:r>
            <a:r>
              <a:rPr lang="ro-RO" dirty="0" err="1"/>
              <a:t>to</a:t>
            </a:r>
            <a:r>
              <a:rPr lang="ro-RO" dirty="0"/>
              <a:t> </a:t>
            </a:r>
            <a:r>
              <a:rPr lang="ro-RO" dirty="0" err="1"/>
              <a:t>edit</a:t>
            </a:r>
            <a:r>
              <a:rPr lang="ro-RO" dirty="0"/>
              <a:t> Master </a:t>
            </a:r>
            <a:r>
              <a:rPr lang="ro-RO" dirty="0" err="1"/>
              <a:t>title</a:t>
            </a:r>
            <a:r>
              <a:rPr lang="ro-RO" dirty="0"/>
              <a:t> </a:t>
            </a:r>
            <a:r>
              <a:rPr lang="ro-RO" dirty="0" err="1"/>
              <a:t>style</a:t>
            </a:r>
            <a:endParaRPr lang="ro-R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o-RO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CEDF2D9-7F27-48E4-9A6B-248D2CEC96E8}" type="slidenum">
              <a:rPr lang="ro-RO" altLang="en-US" smtClean="0"/>
              <a:pPr/>
              <a:t>‹#›</a:t>
            </a:fld>
            <a:endParaRPr lang="ro-RO" altLang="en-US" dirty="0"/>
          </a:p>
        </p:txBody>
      </p:sp>
    </p:spTree>
    <p:extLst>
      <p:ext uri="{BB962C8B-B14F-4D97-AF65-F5344CB8AC3E}">
        <p14:creationId xmlns:p14="http://schemas.microsoft.com/office/powerpoint/2010/main" val="2860336087"/>
      </p:ext>
    </p:extLst>
  </p:cSld>
  <p:clrMapOvr>
    <a:masterClrMapping/>
  </p:clrMapOvr>
  <p:transition advClick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191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ro-RO" noProof="0" dirty="0"/>
              <a:t>Insert banner statement here</a:t>
            </a:r>
            <a:endParaRPr lang="ro-RO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361515"/>
            <a:ext cx="4023360" cy="1010546"/>
          </a:xfrm>
        </p:spPr>
        <p:txBody>
          <a:bodyPr/>
          <a:lstStyle/>
          <a:p>
            <a:pPr lvl="0"/>
            <a:r>
              <a:rPr lang="ro-RO" dirty="0"/>
              <a:t>Edit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361515"/>
            <a:ext cx="4023360" cy="1010546"/>
          </a:xfrm>
        </p:spPr>
        <p:txBody>
          <a:bodyPr/>
          <a:lstStyle/>
          <a:p>
            <a:pPr lvl="0"/>
            <a:r>
              <a:rPr lang="ro-RO" dirty="0"/>
              <a:t>Edit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2470897"/>
            <a:ext cx="8179724" cy="2117912"/>
          </a:xfrm>
        </p:spPr>
        <p:txBody>
          <a:bodyPr/>
          <a:lstStyle/>
          <a:p>
            <a:pPr lvl="0"/>
            <a:r>
              <a:rPr lang="ro-RO" dirty="0"/>
              <a:t>Edit Master text </a:t>
            </a:r>
            <a:r>
              <a:rPr lang="ro-RO" dirty="0" err="1"/>
              <a:t>styles</a:t>
            </a:r>
            <a:endParaRPr lang="ro-RO" dirty="0"/>
          </a:p>
          <a:p>
            <a:pPr lvl="1"/>
            <a:r>
              <a:rPr lang="ro-RO" dirty="0" err="1"/>
              <a:t>Secon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2"/>
            <a:r>
              <a:rPr lang="ro-RO" dirty="0" err="1"/>
              <a:t>Third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3"/>
            <a:r>
              <a:rPr lang="ro-RO" dirty="0" err="1"/>
              <a:t>Four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  <a:p>
            <a:pPr lvl="4"/>
            <a:r>
              <a:rPr lang="ro-RO" dirty="0" err="1"/>
              <a:t>Fifth</a:t>
            </a:r>
            <a:r>
              <a:rPr lang="ro-RO" dirty="0"/>
              <a:t> </a:t>
            </a:r>
            <a:r>
              <a:rPr lang="ro-RO" dirty="0" err="1"/>
              <a:t>level</a:t>
            </a:r>
            <a:endParaRPr lang="ro-RO" dirty="0"/>
          </a:p>
        </p:txBody>
      </p:sp>
      <p:sp>
        <p:nvSpPr>
          <p:cNvPr id="23" name="PwC Text"/>
          <p:cNvSpPr txBox="1"/>
          <p:nvPr userDrawn="1"/>
        </p:nvSpPr>
        <p:spPr>
          <a:xfrm>
            <a:off x="482139" y="4840942"/>
            <a:ext cx="249382" cy="7091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662"/>
              </a:lnSpc>
            </a:pPr>
            <a:r>
              <a:rPr lang="ro-RO" sz="596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379230" y="4840941"/>
            <a:ext cx="290945" cy="1028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ro-RO" sz="596" noProof="1"/>
          </a:p>
        </p:txBody>
      </p:sp>
      <p:sp>
        <p:nvSpPr>
          <p:cNvPr id="46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ro-RO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258590" y="4738072"/>
            <a:ext cx="65" cy="9169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ro-RO" sz="596" noProof="1"/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482139" y="4689662"/>
            <a:ext cx="8179724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>
            <a:off x="481092" y="1311089"/>
            <a:ext cx="817854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2139" y="4738034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3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ro-RO" sz="596" noProof="1">
              <a:solidFill>
                <a:schemeClr val="tx1"/>
              </a:solidFill>
            </a:endParaRPr>
          </a:p>
        </p:txBody>
      </p:sp>
      <p:sp>
        <p:nvSpPr>
          <p:cNvPr id="27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258590" y="4829654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o-RO" sz="596" noProof="1"/>
              <a:t>Draft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ro-RO" sz="596" noProof="1"/>
              <a:t>31/10/2018 C:\Users\cmitroi001\Documents\! WORK\01. Projects\07. Hidroelectrica\181030_Hidroelectrica_OOP_v24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191" noProof="1"/>
              <a:t>Slide Tags</a:t>
            </a: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46364" y="617557"/>
            <a:ext cx="8312729" cy="95294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7605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314450"/>
            <a:ext cx="8077200" cy="3314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2" name="TextBox 31"/>
          <p:cNvSpPr txBox="1"/>
          <p:nvPr/>
        </p:nvSpPr>
        <p:spPr>
          <a:xfrm>
            <a:off x="533400" y="4857752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546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ro-RO" smtClean="0"/>
              <a:t>‹#›</a:t>
            </a:fld>
            <a:endParaRPr lang="ro-RO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9913673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1"/>
            <a:ext cx="8077200" cy="685800"/>
          </a:xfrm>
        </p:spPr>
        <p:txBody>
          <a:bodyPr/>
          <a:lstStyle/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314453"/>
            <a:ext cx="2590800" cy="3314699"/>
          </a:xfrm>
        </p:spPr>
        <p:txBody>
          <a:bodyPr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3" y="1314453"/>
            <a:ext cx="2590799" cy="3314699"/>
          </a:xfrm>
        </p:spPr>
        <p:txBody>
          <a:bodyPr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314453"/>
            <a:ext cx="2590800" cy="3314699"/>
          </a:xfrm>
        </p:spPr>
        <p:txBody>
          <a:bodyPr/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7" name="TextBox 36"/>
          <p:cNvSpPr txBox="1"/>
          <p:nvPr/>
        </p:nvSpPr>
        <p:spPr>
          <a:xfrm>
            <a:off x="533400" y="4857752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546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ro-RO" smtClean="0"/>
              <a:t>‹#›</a:t>
            </a:fld>
            <a:endParaRPr lang="ro-RO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9555733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314452"/>
            <a:ext cx="3962400" cy="3314699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3" y="1314450"/>
            <a:ext cx="3962399" cy="33147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3" name="TextBox 32"/>
          <p:cNvSpPr txBox="1"/>
          <p:nvPr/>
        </p:nvSpPr>
        <p:spPr>
          <a:xfrm>
            <a:off x="533400" y="4857751"/>
            <a:ext cx="2590800" cy="1143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728" noProof="0" dirty="0">
                <a:latin typeface="+mj-lt"/>
                <a:cs typeface="Arial" pitchFamily="34" charset="0"/>
              </a:rPr>
              <a:t>PwC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fld id="{9EBD5762-3BDC-484D-9503-7EA6D5A9A8CE}" type="slidenum">
              <a:rPr lang="ro-RO" smtClean="0"/>
              <a:pPr/>
              <a:t>‹#›</a:t>
            </a:fld>
            <a:endParaRPr lang="ro-RO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  <p:cxnSp>
        <p:nvCxnSpPr>
          <p:cNvPr id="12" name="Shape 11"/>
          <p:cNvCxnSpPr/>
          <p:nvPr userDrawn="1"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6903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314450"/>
            <a:ext cx="8077200" cy="3314700"/>
          </a:xfrm>
        </p:spPr>
        <p:txBody>
          <a:bodyPr/>
          <a:lstStyle>
            <a:lvl1pPr>
              <a:defRPr baseline="0"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  <p:sp>
        <p:nvSpPr>
          <p:cNvPr id="32" name="TextBox 31"/>
          <p:cNvSpPr txBox="1"/>
          <p:nvPr/>
        </p:nvSpPr>
        <p:spPr>
          <a:xfrm>
            <a:off x="533400" y="4857751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o-RO" sz="728" noProof="0" dirty="0">
                <a:latin typeface="+mj-lt"/>
                <a:cs typeface="Arial" pitchFamily="34" charset="0"/>
              </a:rPr>
              <a:t>PwC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38653" y="-3600450"/>
            <a:ext cx="114299" cy="8229600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fld id="{9EBD5762-3BDC-484D-9503-7EA6D5A9A8CE}" type="slidenum">
              <a:rPr lang="ro-RO" smtClean="0"/>
              <a:pPr/>
              <a:t>‹#›</a:t>
            </a:fld>
            <a:endParaRPr lang="ro-RO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28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7309251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962026" y="1209675"/>
            <a:ext cx="2066925" cy="2066925"/>
          </a:xfrm>
          <a:prstGeom prst="teardrop">
            <a:avLst>
              <a:gd name="adj" fmla="val 45622"/>
            </a:avLst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3538538" y="1209675"/>
            <a:ext cx="2066925" cy="2066925"/>
          </a:xfrm>
          <a:prstGeom prst="teardrop">
            <a:avLst>
              <a:gd name="adj" fmla="val 45622"/>
            </a:avLst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115050" y="1209675"/>
            <a:ext cx="2066925" cy="2066925"/>
          </a:xfrm>
          <a:prstGeom prst="teardrop">
            <a:avLst>
              <a:gd name="adj" fmla="val 45622"/>
            </a:avLst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19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D6857-A5AA-4C9A-BBE5-F467C902A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077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333839"/>
            <a:ext cx="8496000" cy="26161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00000"/>
            <a:ext cx="84960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8496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788D0F-DDF7-4033-A15A-D24B8AE8FA21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50938"/>
            <a:ext cx="84960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buFont typeface="Wingdings" panose="05000000000000000000" pitchFamily="2" charset="2"/>
              <a:buChar char=""/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buFont typeface="Source Sans Pro" panose="020B0503030403020204" pitchFamily="34" charset="0"/>
              <a:buChar char="–"/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6" y="364617"/>
            <a:ext cx="8496302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4500000"/>
            <a:ext cx="8497439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8496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89438" y="1159405"/>
            <a:ext cx="4032000" cy="30744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72000" indent="-72000" algn="l" defTabSz="914400" rtl="0" eaLnBrk="1" latinLnBrk="0" hangingPunct="1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1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100" dirty="0" smtClean="0"/>
            </a:lvl2pPr>
            <a:lvl3pPr>
              <a:defRPr lang="en-US" sz="1100" dirty="0" smtClean="0"/>
            </a:lvl3pPr>
            <a:lvl4pPr>
              <a:defRPr lang="en-US" sz="1100" dirty="0" smtClean="0"/>
            </a:lvl4pPr>
            <a:lvl5pPr>
              <a:defRPr lang="en-US" sz="1400" dirty="0"/>
            </a:lvl5pPr>
          </a:lstStyle>
          <a:p>
            <a:pPr marL="144000" lvl="0" indent="-144000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50938"/>
            <a:ext cx="41400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942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tags" Target="../tags/tag11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tags" Target="../tags/tag1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tags" Target="../tags/tag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theme" Target="../theme/theme2.xml"/><Relationship Id="rId35" Type="http://schemas.openxmlformats.org/officeDocument/2006/relationships/image" Target="../media/image9.emf"/><Relationship Id="rId8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tags" Target="../tags/tag17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tags" Target="../tags/tag174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tags" Target="../tags/tag173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3.xml"/><Relationship Id="rId35" Type="http://schemas.openxmlformats.org/officeDocument/2006/relationships/image" Target="../media/image9.emf"/><Relationship Id="rId8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"/>
          <p:cNvSpPr txBox="1"/>
          <p:nvPr userDrawn="1"/>
        </p:nvSpPr>
        <p:spPr>
          <a:xfrm>
            <a:off x="7781415" y="4841905"/>
            <a:ext cx="1232710" cy="10772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algn="ctr" defTabSz="914400" rtl="0" eaLnBrk="1" latinLnBrk="0" hangingPunct="1"/>
            <a:r>
              <a:rPr lang="en-US" sz="700" b="0" cap="all" normalizeH="0" dirty="0">
                <a:solidFill>
                  <a:schemeClr val="bg1">
                    <a:lumMod val="50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│</a:t>
            </a:r>
            <a:r>
              <a:rPr lang="en-US" sz="700" b="0" cap="all" normalizeH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</a:t>
            </a:r>
            <a:fld id="{C6CC3D56-96BB-45E4-94D9-DF781FE65A81}" type="slidenum">
              <a:rPr kumimoji="0" lang="en-US" sz="700" b="1" i="0" u="none" strike="noStrike" kern="1200" cap="all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uLnTx/>
                <a:uFillTx/>
                <a:latin typeface="Source Sans Pro" panose="020B0503030403020204" pitchFamily="34" charset="0"/>
                <a:ea typeface="Source Sans Pro" pitchFamily="34" charset="0"/>
                <a:cs typeface="+mn-cs"/>
              </a:rPr>
              <a:pPr marL="0" algn="ctr" defTabSz="914400" rtl="0" eaLnBrk="1" latinLnBrk="0" hangingPunct="1"/>
              <a:t>‹#›</a:t>
            </a:fld>
            <a:endParaRPr lang="en-US" sz="700" b="1" kern="1200" cap="all" normalizeH="0" baseline="0" noProof="0" dirty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Source Sans Pro" pitchFamily="34" charset="0"/>
              <a:ea typeface="Source Sans Pro" pitchFamily="34" charset="0"/>
              <a:cs typeface="+mn-cs"/>
            </a:endParaRP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24000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9"/>
            <a:ext cx="8496000" cy="13997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pic>
        <p:nvPicPr>
          <p:cNvPr id="6" name="Logo SG">
            <a:extLst>
              <a:ext uri="{FF2B5EF4-FFF2-40B4-BE49-F238E27FC236}">
                <a16:creationId xmlns:a16="http://schemas.microsoft.com/office/drawing/2014/main" id="{0D4B289A-E6DD-43CB-B81A-D39B8675B6F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438" y="4698423"/>
            <a:ext cx="1100931" cy="224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869" r:id="rId2"/>
    <p:sldLayoutId id="2147483875" r:id="rId3"/>
    <p:sldLayoutId id="2147484025" r:id="rId4"/>
    <p:sldLayoutId id="2147484024" r:id="rId5"/>
    <p:sldLayoutId id="2147483967" r:id="rId6"/>
    <p:sldLayoutId id="2147483856" r:id="rId7"/>
    <p:sldLayoutId id="2147483855" r:id="rId8"/>
    <p:sldLayoutId id="2147484020" r:id="rId9"/>
    <p:sldLayoutId id="2147484012" r:id="rId10"/>
    <p:sldLayoutId id="2147484013" r:id="rId11"/>
    <p:sldLayoutId id="2147483867" r:id="rId12"/>
    <p:sldLayoutId id="2147483830" r:id="rId13"/>
    <p:sldLayoutId id="2147483878" r:id="rId14"/>
    <p:sldLayoutId id="2147484021" r:id="rId15"/>
    <p:sldLayoutId id="2147484026" r:id="rId16"/>
    <p:sldLayoutId id="2147484023" r:id="rId17"/>
    <p:sldLayoutId id="2147484027" r:id="rId18"/>
    <p:sldLayoutId id="2147484091" r:id="rId19"/>
  </p:sldLayoutIdLst>
  <p:hf hdr="0" ftr="0"/>
  <p:txStyles>
    <p:titleStyle>
      <a:lvl1pPr algn="l" defTabSz="914400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000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2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600"/>
        </a:spcBef>
        <a:buClrTx/>
        <a:buSzPct val="100000"/>
        <a:buFont typeface="Wingdings" panose="05000000000000000000" pitchFamily="2" charset="2"/>
        <a:buChar char="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400"/>
        </a:spcBef>
        <a:buClrTx/>
        <a:buFont typeface="Source Sans Pro" panose="020B0503030403020204" pitchFamily="34" charset="0"/>
        <a:buChar char="-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914400" rtl="0" eaLnBrk="1" latinLnBrk="0" hangingPunct="1">
        <a:spcBef>
          <a:spcPts val="2000"/>
        </a:spcBef>
        <a:buClr>
          <a:schemeClr val="tx2"/>
        </a:buClr>
        <a:buFontTx/>
        <a:buNone/>
        <a:defRPr lang="en-US" sz="12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1" userDrawn="1">
          <p15:clr>
            <a:srgbClr val="000000"/>
          </p15:clr>
        </p15:guide>
        <p15:guide id="2" pos="204" userDrawn="1">
          <p15:clr>
            <a:srgbClr val="000000"/>
          </p15:clr>
        </p15:guide>
        <p15:guide id="3" pos="5556" userDrawn="1">
          <p15:clr>
            <a:srgbClr val="000000"/>
          </p15:clr>
        </p15:guide>
        <p15:guide id="4" orient="horz" pos="725" userDrawn="1">
          <p15:clr>
            <a:srgbClr val="000000"/>
          </p15:clr>
        </p15:guide>
        <p15:guide id="5" pos="2880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C0C0C0"/>
          </a:solidFill>
          <a:ln w="25400">
            <a:solidFill>
              <a:schemeClr val="accent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o-RO" sz="1191" b="1" i="1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54" name="grid" hidden="1"/>
          <p:cNvGrpSpPr/>
          <p:nvPr>
            <p:custDataLst>
              <p:tags r:id="rId33"/>
            </p:custDataLst>
          </p:nvPr>
        </p:nvGrpSpPr>
        <p:grpSpPr>
          <a:xfrm>
            <a:off x="482138" y="453839"/>
            <a:ext cx="8179724" cy="4441564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604100">
                <a:defRPr/>
              </a:pPr>
              <a:endParaRPr lang="ro-RO" sz="1191" dirty="0"/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604100">
                <a:defRPr/>
              </a:pPr>
              <a:endParaRPr lang="ro-RO" sz="1191" dirty="0"/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530557">
                <a:buSzPct val="90000"/>
                <a:defRPr/>
              </a:pPr>
              <a:endParaRPr lang="ro-RO" sz="926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756397"/>
            <a:ext cx="8179724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138" y="1464384"/>
            <a:ext cx="8179724" cy="2922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10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>
              <a:defRPr lang="ro-RO" sz="596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9EBD5762-3BDC-484D-9503-7EA6D5A9A8CE}" type="slidenum">
              <a:rPr lang="ro-RO" smtClean="0"/>
              <a:pPr algn="r"/>
              <a:t>‹#›</a:t>
            </a:fld>
            <a:endParaRPr lang="ro-RO" dirty="0"/>
          </a:p>
        </p:txBody>
      </p:sp>
      <p:sp>
        <p:nvSpPr>
          <p:cNvPr id="10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1" y="4743450"/>
            <a:ext cx="1524000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lang="ro-RO" sz="596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699155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  <p:sldLayoutId id="2147484049" r:id="rId20"/>
    <p:sldLayoutId id="2147484050" r:id="rId21"/>
    <p:sldLayoutId id="2147484051" r:id="rId22"/>
    <p:sldLayoutId id="2147484052" r:id="rId23"/>
    <p:sldLayoutId id="2147484053" r:id="rId24"/>
    <p:sldLayoutId id="2147484054" r:id="rId25"/>
    <p:sldLayoutId id="2147484055" r:id="rId26"/>
    <p:sldLayoutId id="2147484056" r:id="rId27"/>
    <p:sldLayoutId id="2147484058" r:id="rId28"/>
    <p:sldLayoutId id="2147484059" r:id="rId29"/>
  </p:sldLayoutIdLst>
  <p:hf hdr="0" ftr="0" dt="0"/>
  <p:txStyles>
    <p:titleStyle>
      <a:lvl1pPr algn="l" defTabSz="674258" rtl="0" eaLnBrk="1" latinLnBrk="0" hangingPunct="1">
        <a:spcBef>
          <a:spcPct val="0"/>
        </a:spcBef>
        <a:buNone/>
        <a:defRPr sz="1191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Wingdings" pitchFamily="2" charset="2"/>
        <a:buNone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5549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Times New Roman" pitchFamily="18" charset="0"/>
        <a:buChar char="•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09722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Arial" pitchFamily="34" charset="0"/>
        <a:buChar char="-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459819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◦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60515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›"/>
        <a:tabLst/>
        <a:defRPr sz="72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54862" indent="-152479" algn="l" defTabSz="6742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09722" indent="-151288" algn="l" defTabSz="6742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459819" indent="-151288" algn="l" defTabSz="6742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674258" rtl="0" eaLnBrk="1" latinLnBrk="0" hangingPunct="1">
        <a:lnSpc>
          <a:spcPct val="100000"/>
        </a:lnSpc>
        <a:spcBef>
          <a:spcPts val="0"/>
        </a:spcBef>
        <a:spcAft>
          <a:spcPts val="397"/>
        </a:spcAft>
        <a:buFont typeface="Arial" pitchFamily="34" charset="0"/>
        <a:buNone/>
        <a:defRPr lang="en-GB" sz="728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29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58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87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516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645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7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90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7032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444" y="1052"/>
          <a:ext cx="1443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44" y="1052"/>
                        <a:ext cx="1443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C0C0C0"/>
          </a:solidFill>
          <a:ln w="25400">
            <a:solidFill>
              <a:schemeClr val="accent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o-RO" sz="1191" b="1" i="1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54" name="grid" hidden="1"/>
          <p:cNvGrpSpPr/>
          <p:nvPr>
            <p:custDataLst>
              <p:tags r:id="rId33"/>
            </p:custDataLst>
          </p:nvPr>
        </p:nvGrpSpPr>
        <p:grpSpPr>
          <a:xfrm>
            <a:off x="482138" y="453839"/>
            <a:ext cx="8179724" cy="4441564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604100">
                <a:defRPr/>
              </a:pPr>
              <a:endParaRPr lang="ro-RO" sz="1191" dirty="0"/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604100">
                <a:defRPr/>
              </a:pPr>
              <a:endParaRPr lang="ro-RO" sz="1191" dirty="0"/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530557">
                <a:buSzPct val="90000"/>
                <a:defRPr/>
              </a:pPr>
              <a:endParaRPr lang="ro-RO" sz="926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604100">
                  <a:defRPr/>
                </a:pPr>
                <a:endParaRPr lang="ro-RO" sz="119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756397"/>
            <a:ext cx="8179724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</a:t>
            </a:r>
            <a:r>
              <a:rPr lang="ro-RO" noProof="0" dirty="0" err="1"/>
              <a:t>title</a:t>
            </a:r>
            <a:r>
              <a:rPr lang="ro-RO" noProof="0" dirty="0"/>
              <a:t> </a:t>
            </a:r>
            <a:r>
              <a:rPr lang="ro-RO" noProof="0" dirty="0" err="1"/>
              <a:t>style</a:t>
            </a:r>
            <a:endParaRPr lang="ro-R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138" y="1464384"/>
            <a:ext cx="8179724" cy="2922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o-RO" noProof="0" dirty="0"/>
              <a:t>Click </a:t>
            </a:r>
            <a:r>
              <a:rPr lang="ro-RO" noProof="0" dirty="0" err="1"/>
              <a:t>to</a:t>
            </a:r>
            <a:r>
              <a:rPr lang="ro-RO" noProof="0" dirty="0"/>
              <a:t> </a:t>
            </a:r>
            <a:r>
              <a:rPr lang="ro-RO" noProof="0" dirty="0" err="1"/>
              <a:t>edit</a:t>
            </a:r>
            <a:r>
              <a:rPr lang="ro-RO" noProof="0" dirty="0"/>
              <a:t> Master text </a:t>
            </a:r>
            <a:r>
              <a:rPr lang="ro-RO" noProof="0" dirty="0" err="1"/>
              <a:t>styles</a:t>
            </a:r>
            <a:endParaRPr lang="ro-RO" noProof="0" dirty="0"/>
          </a:p>
          <a:p>
            <a:pPr lvl="1"/>
            <a:r>
              <a:rPr lang="ro-RO" noProof="0" dirty="0" err="1"/>
              <a:t>Secon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2"/>
            <a:r>
              <a:rPr lang="ro-RO" noProof="0" dirty="0" err="1"/>
              <a:t>Third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3"/>
            <a:r>
              <a:rPr lang="ro-RO" noProof="0" dirty="0" err="1"/>
              <a:t>Four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  <a:p>
            <a:pPr lvl="4"/>
            <a:r>
              <a:rPr lang="ro-RO" noProof="0" dirty="0" err="1"/>
              <a:t>Fifth</a:t>
            </a:r>
            <a:r>
              <a:rPr lang="ro-RO" noProof="0" dirty="0"/>
              <a:t> </a:t>
            </a:r>
            <a:r>
              <a:rPr lang="ro-RO" noProof="0" dirty="0" err="1"/>
              <a:t>level</a:t>
            </a:r>
            <a:endParaRPr lang="ro-RO" noProof="0" dirty="0"/>
          </a:p>
        </p:txBody>
      </p:sp>
      <p:sp>
        <p:nvSpPr>
          <p:cNvPr id="10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1" y="4857750"/>
            <a:ext cx="1527048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>
              <a:defRPr lang="ro-RO" sz="596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9EBD5762-3BDC-484D-9503-7EA6D5A9A8CE}" type="slidenum">
              <a:rPr lang="ro-RO" smtClean="0"/>
              <a:pPr algn="r"/>
              <a:t>‹#›</a:t>
            </a:fld>
            <a:endParaRPr lang="ro-RO" dirty="0"/>
          </a:p>
        </p:txBody>
      </p:sp>
      <p:sp>
        <p:nvSpPr>
          <p:cNvPr id="10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1" y="4743450"/>
            <a:ext cx="1524000" cy="11430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lang="ro-RO" sz="596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170339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3" r:id="rId13"/>
    <p:sldLayoutId id="2147484074" r:id="rId14"/>
    <p:sldLayoutId id="2147484075" r:id="rId15"/>
    <p:sldLayoutId id="2147484076" r:id="rId16"/>
    <p:sldLayoutId id="2147484077" r:id="rId17"/>
    <p:sldLayoutId id="2147484078" r:id="rId18"/>
    <p:sldLayoutId id="2147484079" r:id="rId19"/>
    <p:sldLayoutId id="2147484080" r:id="rId20"/>
    <p:sldLayoutId id="2147484081" r:id="rId21"/>
    <p:sldLayoutId id="2147484082" r:id="rId22"/>
    <p:sldLayoutId id="2147484083" r:id="rId23"/>
    <p:sldLayoutId id="2147484084" r:id="rId24"/>
    <p:sldLayoutId id="2147484085" r:id="rId25"/>
    <p:sldLayoutId id="2147484086" r:id="rId26"/>
    <p:sldLayoutId id="2147484087" r:id="rId27"/>
    <p:sldLayoutId id="2147484089" r:id="rId28"/>
    <p:sldLayoutId id="2147484090" r:id="rId29"/>
  </p:sldLayoutIdLst>
  <p:hf hdr="0" ftr="0" dt="0"/>
  <p:txStyles>
    <p:titleStyle>
      <a:lvl1pPr algn="l" defTabSz="674258" rtl="0" eaLnBrk="1" latinLnBrk="0" hangingPunct="1">
        <a:spcBef>
          <a:spcPct val="0"/>
        </a:spcBef>
        <a:buNone/>
        <a:defRPr sz="1191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Wingdings" pitchFamily="2" charset="2"/>
        <a:buNone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5549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Times New Roman" pitchFamily="18" charset="0"/>
        <a:buChar char="•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09722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Arial" pitchFamily="34" charset="0"/>
        <a:buChar char="-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459819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◦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60515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›"/>
        <a:tabLst/>
        <a:defRPr sz="72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54862" indent="-152479" algn="l" defTabSz="6742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09722" indent="-151288" algn="l" defTabSz="6742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459819" indent="-151288" algn="l" defTabSz="6742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674258" rtl="0" eaLnBrk="1" latinLnBrk="0" hangingPunct="1">
        <a:lnSpc>
          <a:spcPct val="100000"/>
        </a:lnSpc>
        <a:spcBef>
          <a:spcPts val="0"/>
        </a:spcBef>
        <a:spcAft>
          <a:spcPts val="397"/>
        </a:spcAft>
        <a:buFont typeface="Arial" pitchFamily="34" charset="0"/>
        <a:buNone/>
        <a:defRPr lang="en-GB" sz="728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29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58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87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516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645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7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90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7032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F1123D6E-A73C-44CD-8A08-F7CCA980E1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3600000" cy="5161911"/>
          </a:xfrm>
        </p:spPr>
      </p:pic>
      <p:sp>
        <p:nvSpPr>
          <p:cNvPr id="10" name="Subtitle 9">
            <a:extLst>
              <a:ext uri="{FF2B5EF4-FFF2-40B4-BE49-F238E27FC236}">
                <a16:creationId xmlns:a16="http://schemas.microsoft.com/office/drawing/2014/main" id="{1D36D427-7EB6-4A7E-A11E-3AC4AC5CC5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5999" y="3240000"/>
            <a:ext cx="4959610" cy="221599"/>
          </a:xfrm>
        </p:spPr>
        <p:txBody>
          <a:bodyPr/>
          <a:lstStyle/>
          <a:p>
            <a:r>
              <a:rPr lang="en-US" sz="1600" dirty="0" err="1"/>
              <a:t>Ianuarie</a:t>
            </a:r>
            <a:r>
              <a:rPr lang="en-US" sz="1600" dirty="0"/>
              <a:t>, 2025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39C08A-1407-411B-9061-E1D21D92B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2820" y="2124450"/>
            <a:ext cx="4274863" cy="771750"/>
          </a:xfrm>
        </p:spPr>
        <p:txBody>
          <a:bodyPr/>
          <a:lstStyle/>
          <a:p>
            <a:r>
              <a:rPr lang="fr-FR" sz="2300" dirty="0"/>
              <a:t> </a:t>
            </a:r>
            <a:br>
              <a:rPr lang="fr-FR" sz="2300" dirty="0"/>
            </a:br>
            <a:r>
              <a:rPr lang="en-US" sz="1800" dirty="0"/>
              <a:t>BRD Sogelease</a:t>
            </a:r>
            <a:br>
              <a:rPr lang="en-US" sz="1800" dirty="0"/>
            </a:br>
            <a:endParaRPr lang="en-US" sz="18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F1450DC-CB97-4897-82D3-BD74D4DE6F7D}"/>
              </a:ext>
            </a:extLst>
          </p:cNvPr>
          <p:cNvSpPr/>
          <p:nvPr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990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EBD1DF-D2C1-E324-989A-7104E3DA50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6000" y="139438"/>
            <a:ext cx="5005738" cy="366254"/>
          </a:xfrm>
        </p:spPr>
        <p:txBody>
          <a:bodyPr/>
          <a:lstStyle/>
          <a:p>
            <a:r>
              <a:rPr lang="en-US" sz="1400" dirty="0" err="1">
                <a:solidFill>
                  <a:srgbClr val="FF0000"/>
                </a:solidFill>
              </a:rPr>
              <a:t>Solutie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r>
              <a:rPr lang="en-US" sz="1400" dirty="0" err="1">
                <a:solidFill>
                  <a:srgbClr val="FF0000"/>
                </a:solidFill>
              </a:rPr>
              <a:t>simpla</a:t>
            </a:r>
            <a:r>
              <a:rPr lang="en-US" sz="1400" dirty="0">
                <a:solidFill>
                  <a:srgbClr val="FF0000"/>
                </a:solidFill>
              </a:rPr>
              <a:t> de </a:t>
            </a:r>
            <a:r>
              <a:rPr lang="en-US" sz="1400" dirty="0" err="1">
                <a:solidFill>
                  <a:srgbClr val="FF0000"/>
                </a:solidFill>
              </a:rPr>
              <a:t>finantare</a:t>
            </a:r>
            <a:r>
              <a:rPr lang="en-US" sz="1400" dirty="0">
                <a:solidFill>
                  <a:srgbClr val="FF0000"/>
                </a:solidFill>
              </a:rPr>
              <a:t>  </a:t>
            </a:r>
            <a:r>
              <a:rPr lang="en-US" sz="1400" dirty="0" err="1">
                <a:solidFill>
                  <a:srgbClr val="FF0000"/>
                </a:solidFill>
              </a:rPr>
              <a:t>pentru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r>
              <a:rPr lang="en-US" sz="1400" dirty="0" err="1">
                <a:solidFill>
                  <a:srgbClr val="FF0000"/>
                </a:solidFill>
              </a:rPr>
              <a:t>persoane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r>
              <a:rPr lang="en-US" sz="1400" dirty="0" err="1">
                <a:solidFill>
                  <a:srgbClr val="FF0000"/>
                </a:solidFill>
              </a:rPr>
              <a:t>juridice</a:t>
            </a:r>
            <a:r>
              <a:rPr lang="en-US" sz="1400" dirty="0">
                <a:solidFill>
                  <a:srgbClr val="FF0000"/>
                </a:solidFill>
              </a:rPr>
              <a:t>, </a:t>
            </a:r>
            <a:r>
              <a:rPr lang="en-US" sz="1400" dirty="0" err="1">
                <a:solidFill>
                  <a:srgbClr val="FF0000"/>
                </a:solidFill>
              </a:rPr>
              <a:t>inclusiv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r>
              <a:rPr lang="en-US" sz="1400" dirty="0" err="1">
                <a:solidFill>
                  <a:srgbClr val="FF0000"/>
                </a:solidFill>
              </a:rPr>
              <a:t>profesii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r>
              <a:rPr lang="en-US" sz="1400" dirty="0" err="1">
                <a:solidFill>
                  <a:srgbClr val="FF0000"/>
                </a:solidFill>
              </a:rPr>
              <a:t>liberale</a:t>
            </a:r>
            <a:endParaRPr lang="ro-RO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DA0142-5A1F-98DE-F660-F3636C7EB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2" y="0"/>
            <a:ext cx="3556084" cy="181246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4B6D61F-D4F7-6E58-90EB-360B696423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3196" y="3437608"/>
            <a:ext cx="1632160" cy="14192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5EDF910-76DE-9D4A-CB62-1906987FF3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72" y="3437608"/>
            <a:ext cx="1814945" cy="1419263"/>
          </a:xfrm>
          <a:prstGeom prst="rect">
            <a:avLst/>
          </a:prstGeom>
        </p:spPr>
      </p:pic>
      <p:pic>
        <p:nvPicPr>
          <p:cNvPr id="14" name="Picture 13" descr="A white truck on a road&#10;&#10;AI-generated content may be incorrect.">
            <a:extLst>
              <a:ext uri="{FF2B5EF4-FFF2-40B4-BE49-F238E27FC236}">
                <a16:creationId xmlns:a16="http://schemas.microsoft.com/office/drawing/2014/main" id="{E772FA82-797A-7CAA-49F0-4427A55E1A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2" y="2027292"/>
            <a:ext cx="3556084" cy="1195490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B7120C-69CC-A37C-2FA3-0000A37133A0}"/>
              </a:ext>
            </a:extLst>
          </p:cNvPr>
          <p:cNvSpPr txBox="1">
            <a:spLocks/>
          </p:cNvSpPr>
          <p:nvPr/>
        </p:nvSpPr>
        <p:spPr>
          <a:xfrm>
            <a:off x="4481945" y="505692"/>
            <a:ext cx="4530437" cy="40247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noProof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Source Sans Pro" panose="020B0503030403020204" pitchFamily="34" charset="0"/>
              <a:buNone/>
              <a:defRPr lang="en-US" sz="1200" kern="1200"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Source Sans Pro" panose="020B0503030403020204" pitchFamily="34" charset="0"/>
              <a:buNone/>
              <a:defRPr lang="en-US" sz="1200" kern="1200"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ts val="2000"/>
              </a:spcBef>
              <a:buClr>
                <a:schemeClr val="tx2"/>
              </a:buClr>
              <a:buFontTx/>
              <a:buNone/>
              <a:defRPr lang="en-US" sz="1200" b="1" kern="1200" cap="all" baseline="0" noProof="0">
                <a:solidFill>
                  <a:schemeClr val="tx1">
                    <a:tint val="75000"/>
                  </a:schemeClr>
                </a:solidFill>
                <a:latin typeface="+mn-lt"/>
                <a:ea typeface="Source Sans Pro Black" panose="020B0803030403020204" pitchFamily="34" charset="0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900" dirty="0">
                <a:solidFill>
                  <a:srgbClr val="FF0000"/>
                </a:solidFill>
              </a:rPr>
              <a:t>Leasing </a:t>
            </a:r>
            <a:r>
              <a:rPr lang="en-US" sz="900" dirty="0" err="1">
                <a:solidFill>
                  <a:srgbClr val="FF0000"/>
                </a:solidFill>
              </a:rPr>
              <a:t>financiar</a:t>
            </a:r>
            <a:r>
              <a:rPr lang="en-US" sz="900" dirty="0">
                <a:solidFill>
                  <a:srgbClr val="FF0000"/>
                </a:solidFill>
              </a:rPr>
              <a:t>:</a:t>
            </a:r>
          </a:p>
          <a:p>
            <a:pPr marL="171450" indent="-171450">
              <a:lnSpc>
                <a:spcPct val="100000"/>
              </a:lnSpc>
              <a:spcBef>
                <a:spcPts val="450"/>
              </a:spcBef>
              <a:buFont typeface="Wingdings" panose="05000000000000000000" pitchFamily="2" charset="2"/>
              <a:buChar char="q"/>
              <a:defRPr/>
            </a:pPr>
            <a:r>
              <a:rPr lang="en-US" sz="900" dirty="0">
                <a:solidFill>
                  <a:schemeClr val="tx1"/>
                </a:solidFill>
              </a:rPr>
              <a:t>O forma de </a:t>
            </a:r>
            <a:r>
              <a:rPr lang="en-US" sz="900" dirty="0" err="1">
                <a:solidFill>
                  <a:schemeClr val="tx1"/>
                </a:solidFill>
              </a:rPr>
              <a:t>finantare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reglementata</a:t>
            </a:r>
            <a:r>
              <a:rPr lang="en-US" sz="900" dirty="0">
                <a:solidFill>
                  <a:schemeClr val="tx1"/>
                </a:solidFill>
              </a:rPr>
              <a:t> specific </a:t>
            </a:r>
            <a:r>
              <a:rPr lang="en-US" sz="900" dirty="0" err="1">
                <a:solidFill>
                  <a:schemeClr val="tx1"/>
                </a:solidFill>
              </a:rPr>
              <a:t>pri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lege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</a:p>
          <a:p>
            <a:pPr marL="171450" indent="-171450" defTabSz="232166">
              <a:lnSpc>
                <a:spcPct val="100000"/>
              </a:lnSpc>
              <a:spcBef>
                <a:spcPts val="450"/>
              </a:spcBef>
              <a:buFont typeface="Wingdings" panose="05000000000000000000" pitchFamily="2" charset="2"/>
              <a:buChar char="q"/>
              <a:defRPr/>
            </a:pPr>
            <a:r>
              <a:rPr lang="en-US" sz="900" dirty="0">
                <a:solidFill>
                  <a:schemeClr val="tx1"/>
                </a:solidFill>
              </a:rPr>
              <a:t>Finantare </a:t>
            </a:r>
            <a:r>
              <a:rPr lang="en-US" sz="900" dirty="0" err="1">
                <a:solidFill>
                  <a:schemeClr val="tx1"/>
                </a:solidFill>
              </a:rPr>
              <a:t>garantata</a:t>
            </a:r>
            <a:r>
              <a:rPr lang="en-US" sz="900" dirty="0">
                <a:solidFill>
                  <a:schemeClr val="tx1"/>
                </a:solidFill>
              </a:rPr>
              <a:t> (in general) </a:t>
            </a:r>
            <a:r>
              <a:rPr lang="en-US" sz="900" dirty="0" err="1">
                <a:solidFill>
                  <a:schemeClr val="tx1"/>
                </a:solidFill>
              </a:rPr>
              <a:t>doar</a:t>
            </a:r>
            <a:r>
              <a:rPr lang="en-US" sz="900" dirty="0">
                <a:solidFill>
                  <a:schemeClr val="tx1"/>
                </a:solidFill>
              </a:rPr>
              <a:t> cu  </a:t>
            </a:r>
            <a:r>
              <a:rPr lang="en-US" sz="900" dirty="0" err="1">
                <a:solidFill>
                  <a:schemeClr val="tx1"/>
                </a:solidFill>
              </a:rPr>
              <a:t>proprietatea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asupra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activulu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finantat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</a:p>
          <a:p>
            <a:pPr marL="171450" indent="-171450" defTabSz="232166">
              <a:lnSpc>
                <a:spcPct val="100000"/>
              </a:lnSpc>
              <a:spcBef>
                <a:spcPts val="450"/>
              </a:spcBef>
              <a:buFont typeface="Wingdings" panose="05000000000000000000" pitchFamily="2" charset="2"/>
              <a:buChar char="q"/>
              <a:defRPr/>
            </a:pPr>
            <a:r>
              <a:rPr lang="en-US" sz="900" dirty="0">
                <a:solidFill>
                  <a:schemeClr val="tx1"/>
                </a:solidFill>
              </a:rPr>
              <a:t>Un contract </a:t>
            </a:r>
            <a:r>
              <a:rPr lang="en-US" sz="900" dirty="0" err="1">
                <a:solidFill>
                  <a:schemeClr val="tx1"/>
                </a:solidFill>
              </a:rPr>
              <a:t>prin</a:t>
            </a:r>
            <a:r>
              <a:rPr lang="en-US" sz="900" dirty="0">
                <a:solidFill>
                  <a:schemeClr val="tx1"/>
                </a:solidFill>
              </a:rPr>
              <a:t> care </a:t>
            </a:r>
            <a:r>
              <a:rPr lang="en-US" sz="900" dirty="0" err="1">
                <a:solidFill>
                  <a:schemeClr val="tx1"/>
                </a:solidFill>
              </a:rPr>
              <a:t>clientul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evine</a:t>
            </a:r>
            <a:r>
              <a:rPr lang="en-US" sz="900" dirty="0">
                <a:solidFill>
                  <a:schemeClr val="tx1"/>
                </a:solidFill>
              </a:rPr>
              <a:t> automat </a:t>
            </a:r>
            <a:r>
              <a:rPr lang="en-US" sz="900" dirty="0" err="1">
                <a:solidFill>
                  <a:schemeClr val="tx1"/>
                </a:solidFill>
              </a:rPr>
              <a:t>proprietar</a:t>
            </a:r>
            <a:r>
              <a:rPr lang="en-US" sz="900" dirty="0">
                <a:solidFill>
                  <a:schemeClr val="tx1"/>
                </a:solidFill>
              </a:rPr>
              <a:t> al </a:t>
            </a:r>
            <a:r>
              <a:rPr lang="en-US" sz="900" dirty="0" err="1">
                <a:solidFill>
                  <a:schemeClr val="tx1"/>
                </a:solidFill>
              </a:rPr>
              <a:t>activulu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finantat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dupa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plata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tuturor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ratelor</a:t>
            </a:r>
            <a:r>
              <a:rPr lang="en-US" sz="900" dirty="0">
                <a:solidFill>
                  <a:schemeClr val="tx1"/>
                </a:solidFill>
              </a:rPr>
              <a:t> de leasing </a:t>
            </a:r>
          </a:p>
          <a:p>
            <a:pPr marL="171450" indent="-171450" defTabSz="232166">
              <a:lnSpc>
                <a:spcPct val="100000"/>
              </a:lnSpc>
              <a:spcBef>
                <a:spcPts val="450"/>
              </a:spcBef>
              <a:buFont typeface="Wingdings" panose="05000000000000000000" pitchFamily="2" charset="2"/>
              <a:buChar char="q"/>
              <a:defRPr/>
            </a:pPr>
            <a:r>
              <a:rPr lang="en-US" sz="900" dirty="0" err="1">
                <a:solidFill>
                  <a:schemeClr val="tx1"/>
                </a:solidFill>
              </a:rPr>
              <a:t>Avantaj</a:t>
            </a:r>
            <a:r>
              <a:rPr lang="en-US" sz="900" dirty="0">
                <a:solidFill>
                  <a:schemeClr val="tx1"/>
                </a:solidFill>
              </a:rPr>
              <a:t> fiscal: </a:t>
            </a: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en-US" sz="900" dirty="0" err="1">
                <a:solidFill>
                  <a:schemeClr val="tx1"/>
                </a:solidFill>
              </a:rPr>
              <a:t>Finantarea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implicita</a:t>
            </a:r>
            <a:r>
              <a:rPr lang="en-US" altLang="en-US" sz="900" dirty="0">
                <a:solidFill>
                  <a:schemeClr val="tx1"/>
                </a:solidFill>
              </a:rPr>
              <a:t> a TVA-</a:t>
            </a:r>
            <a:r>
              <a:rPr lang="en-US" altLang="en-US" sz="900" dirty="0" err="1">
                <a:solidFill>
                  <a:schemeClr val="tx1"/>
                </a:solidFill>
              </a:rPr>
              <a:t>ului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endParaRPr lang="en-US" sz="900" dirty="0">
              <a:solidFill>
                <a:schemeClr val="tx1"/>
              </a:solidFill>
            </a:endParaRP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en-US" sz="900" dirty="0" err="1">
                <a:solidFill>
                  <a:schemeClr val="tx1"/>
                </a:solidFill>
              </a:rPr>
              <a:t>Deductibilitatea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unor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cheltuieli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aferente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ratelor</a:t>
            </a:r>
            <a:r>
              <a:rPr lang="en-US" altLang="en-US" sz="900" dirty="0">
                <a:solidFill>
                  <a:schemeClr val="tx1"/>
                </a:solidFill>
              </a:rPr>
              <a:t> de leasing – TVA, </a:t>
            </a:r>
            <a:r>
              <a:rPr lang="en-US" altLang="en-US" sz="900" dirty="0" err="1">
                <a:solidFill>
                  <a:schemeClr val="tx1"/>
                </a:solidFill>
              </a:rPr>
              <a:t>dobanzi</a:t>
            </a:r>
            <a:r>
              <a:rPr lang="en-US" altLang="en-US" sz="900" dirty="0">
                <a:solidFill>
                  <a:schemeClr val="tx1"/>
                </a:solidFill>
              </a:rPr>
              <a:t>, </a:t>
            </a:r>
            <a:r>
              <a:rPr lang="en-US" altLang="en-US" sz="900" dirty="0" err="1">
                <a:solidFill>
                  <a:schemeClr val="tx1"/>
                </a:solidFill>
              </a:rPr>
              <a:t>asigurari</a:t>
            </a:r>
            <a:r>
              <a:rPr lang="en-US" altLang="en-US" sz="900" dirty="0">
                <a:solidFill>
                  <a:schemeClr val="tx1"/>
                </a:solidFill>
              </a:rPr>
              <a:t>, </a:t>
            </a:r>
            <a:r>
              <a:rPr lang="en-US" altLang="en-US" sz="900" dirty="0" err="1">
                <a:solidFill>
                  <a:schemeClr val="tx1"/>
                </a:solidFill>
              </a:rPr>
              <a:t>diferente</a:t>
            </a:r>
            <a:r>
              <a:rPr lang="en-US" altLang="en-US" sz="900" dirty="0">
                <a:solidFill>
                  <a:schemeClr val="tx1"/>
                </a:solidFill>
              </a:rPr>
              <a:t> de curs – in </a:t>
            </a:r>
            <a:r>
              <a:rPr lang="en-US" altLang="en-US" sz="900" dirty="0" err="1">
                <a:solidFill>
                  <a:schemeClr val="tx1"/>
                </a:solidFill>
              </a:rPr>
              <a:t>functie</a:t>
            </a:r>
            <a:r>
              <a:rPr lang="en-US" altLang="en-US" sz="900" dirty="0">
                <a:solidFill>
                  <a:schemeClr val="tx1"/>
                </a:solidFill>
              </a:rPr>
              <a:t> de </a:t>
            </a:r>
            <a:r>
              <a:rPr lang="en-US" altLang="en-US" sz="900" dirty="0" err="1">
                <a:solidFill>
                  <a:schemeClr val="tx1"/>
                </a:solidFill>
              </a:rPr>
              <a:t>tipul</a:t>
            </a:r>
            <a:r>
              <a:rPr lang="en-US" altLang="en-US" sz="900" dirty="0">
                <a:solidFill>
                  <a:schemeClr val="tx1"/>
                </a:solidFill>
              </a:rPr>
              <a:t> de bun </a:t>
            </a:r>
            <a:r>
              <a:rPr lang="en-US" altLang="en-US" sz="900" dirty="0" err="1">
                <a:solidFill>
                  <a:schemeClr val="tx1"/>
                </a:solidFill>
              </a:rPr>
              <a:t>finantat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si</a:t>
            </a:r>
            <a:r>
              <a:rPr lang="en-US" altLang="en-US" sz="900" dirty="0">
                <a:solidFill>
                  <a:schemeClr val="tx1"/>
                </a:solidFill>
              </a:rPr>
              <a:t> de </a:t>
            </a:r>
            <a:r>
              <a:rPr lang="en-US" altLang="en-US" sz="900" dirty="0" err="1">
                <a:solidFill>
                  <a:schemeClr val="tx1"/>
                </a:solidFill>
              </a:rPr>
              <a:t>destinatia</a:t>
            </a:r>
            <a:r>
              <a:rPr lang="en-US" altLang="en-US" sz="900" dirty="0">
                <a:solidFill>
                  <a:schemeClr val="tx1"/>
                </a:solidFill>
              </a:rPr>
              <a:t> </a:t>
            </a:r>
            <a:r>
              <a:rPr lang="en-US" altLang="en-US" sz="900" dirty="0" err="1">
                <a:solidFill>
                  <a:schemeClr val="tx1"/>
                </a:solidFill>
              </a:rPr>
              <a:t>acestuia</a:t>
            </a:r>
            <a:endParaRPr lang="en-US" sz="9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900" dirty="0" err="1">
                <a:solidFill>
                  <a:srgbClr val="FF0000"/>
                </a:solidFill>
              </a:rPr>
              <a:t>Obiectul</a:t>
            </a:r>
            <a:r>
              <a:rPr lang="en-US" sz="900" dirty="0">
                <a:solidFill>
                  <a:srgbClr val="FF0000"/>
                </a:solidFill>
              </a:rPr>
              <a:t> </a:t>
            </a:r>
            <a:r>
              <a:rPr lang="en-US" sz="900" dirty="0" err="1">
                <a:solidFill>
                  <a:srgbClr val="FF0000"/>
                </a:solidFill>
              </a:rPr>
              <a:t>finantarii</a:t>
            </a:r>
            <a:r>
              <a:rPr lang="en-US" sz="900" dirty="0">
                <a:solidFill>
                  <a:srgbClr val="FF0000"/>
                </a:solidFill>
              </a:rPr>
              <a:t>:</a:t>
            </a:r>
          </a:p>
          <a:p>
            <a:pPr>
              <a:lnSpc>
                <a:spcPct val="100000"/>
              </a:lnSpc>
            </a:pPr>
            <a:r>
              <a:rPr lang="en-US" sz="900" dirty="0" err="1">
                <a:solidFill>
                  <a:schemeClr val="tx1"/>
                </a:solidFill>
              </a:rPr>
              <a:t>Bunur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no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sau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uzate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achizitionate</a:t>
            </a:r>
            <a:r>
              <a:rPr lang="en-US" sz="900" dirty="0">
                <a:solidFill>
                  <a:schemeClr val="tx1"/>
                </a:solidFill>
              </a:rPr>
              <a:t> de la </a:t>
            </a:r>
            <a:r>
              <a:rPr lang="en-US" sz="900" dirty="0" err="1">
                <a:solidFill>
                  <a:schemeClr val="tx1"/>
                </a:solidFill>
              </a:rPr>
              <a:t>furnizori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autorizati</a:t>
            </a:r>
            <a:r>
              <a:rPr lang="en-US" sz="900" dirty="0">
                <a:solidFill>
                  <a:schemeClr val="tx1"/>
                </a:solidFill>
              </a:rPr>
              <a:t>:</a:t>
            </a:r>
          </a:p>
          <a:p>
            <a:pPr marL="171450" lvl="1" indent="-171450" algn="l" defTabSz="232166">
              <a:lnSpc>
                <a:spcPct val="100000"/>
              </a:lnSpc>
              <a:spcBef>
                <a:spcPts val="450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q"/>
              <a:defRPr/>
            </a:pPr>
            <a:r>
              <a:rPr lang="en-US" sz="900" dirty="0" err="1">
                <a:solidFill>
                  <a:schemeClr val="tx1"/>
                </a:solidFill>
                <a:cs typeface="+mn-cs"/>
              </a:rPr>
              <a:t>Autovehicule</a:t>
            </a:r>
            <a:endParaRPr lang="en-US" sz="900" dirty="0">
              <a:solidFill>
                <a:schemeClr val="tx1"/>
              </a:solidFill>
              <a:cs typeface="+mn-cs"/>
            </a:endParaRPr>
          </a:p>
          <a:p>
            <a:pPr marL="171450" lvl="1" indent="-171450" algn="l" defTabSz="232166">
              <a:lnSpc>
                <a:spcPct val="100000"/>
              </a:lnSpc>
              <a:spcBef>
                <a:spcPts val="450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q"/>
              <a:defRPr/>
            </a:pPr>
            <a:r>
              <a:rPr lang="en-US" sz="900" dirty="0" err="1">
                <a:solidFill>
                  <a:schemeClr val="tx1"/>
                </a:solidFill>
                <a:cs typeface="+mn-cs"/>
              </a:rPr>
              <a:t>Vehicule</a:t>
            </a:r>
            <a:r>
              <a:rPr lang="en-US" sz="900" dirty="0">
                <a:solidFill>
                  <a:schemeClr val="tx1"/>
                </a:solidFill>
                <a:cs typeface="+mn-cs"/>
              </a:rPr>
              <a:t> </a:t>
            </a:r>
            <a:r>
              <a:rPr lang="en-US" sz="900" dirty="0" err="1">
                <a:solidFill>
                  <a:schemeClr val="tx1"/>
                </a:solidFill>
                <a:cs typeface="+mn-cs"/>
              </a:rPr>
              <a:t>comerciale</a:t>
            </a:r>
            <a:endParaRPr lang="en-US" sz="900" dirty="0">
              <a:solidFill>
                <a:schemeClr val="tx1"/>
              </a:solidFill>
              <a:cs typeface="+mn-cs"/>
            </a:endParaRPr>
          </a:p>
          <a:p>
            <a:pPr marL="171450" lvl="1" indent="-171450" algn="l" defTabSz="232166">
              <a:lnSpc>
                <a:spcPct val="100000"/>
              </a:lnSpc>
              <a:spcBef>
                <a:spcPts val="450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q"/>
              <a:defRPr/>
            </a:pPr>
            <a:r>
              <a:rPr lang="en-US" sz="900" dirty="0" err="1">
                <a:solidFill>
                  <a:schemeClr val="tx1"/>
                </a:solidFill>
                <a:cs typeface="+mn-cs"/>
              </a:rPr>
              <a:t>Echipamente</a:t>
            </a:r>
            <a:r>
              <a:rPr lang="en-US" sz="900" dirty="0">
                <a:solidFill>
                  <a:schemeClr val="tx1"/>
                </a:solidFill>
                <a:cs typeface="+mn-cs"/>
              </a:rPr>
              <a:t>:</a:t>
            </a: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chemeClr val="tx1"/>
                </a:solidFill>
              </a:rPr>
              <a:t> Agricole</a:t>
            </a: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Constructii</a:t>
            </a:r>
            <a:endParaRPr lang="en-US" sz="900" dirty="0">
              <a:solidFill>
                <a:schemeClr val="tx1"/>
              </a:solidFill>
            </a:endParaRP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Industriale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Medicale</a:t>
            </a:r>
            <a:endParaRPr lang="en-US" sz="900" dirty="0">
              <a:solidFill>
                <a:schemeClr val="tx1"/>
              </a:solidFill>
            </a:endParaRPr>
          </a:p>
          <a:p>
            <a:pPr marL="539987" lvl="2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chemeClr val="tx1"/>
                </a:solidFill>
              </a:rPr>
              <a:t> IT</a:t>
            </a:r>
          </a:p>
        </p:txBody>
      </p:sp>
    </p:spTree>
    <p:extLst>
      <p:ext uri="{BB962C8B-B14F-4D97-AF65-F5344CB8AC3E}">
        <p14:creationId xmlns:p14="http://schemas.microsoft.com/office/powerpoint/2010/main" val="377618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11"/>
          <p:cNvSpPr txBox="1">
            <a:spLocks noChangeArrowheads="1"/>
          </p:cNvSpPr>
          <p:nvPr/>
        </p:nvSpPr>
        <p:spPr bwMode="auto">
          <a:xfrm>
            <a:off x="1020173" y="1657202"/>
            <a:ext cx="172978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9pPr>
          </a:lstStyle>
          <a:p>
            <a:pPr defTabSz="6858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b="0" kern="0" dirty="0">
                <a:solidFill>
                  <a:srgbClr val="000000"/>
                </a:solidFill>
                <a:latin typeface="+mn-lt"/>
              </a:rPr>
              <a:t>     </a:t>
            </a:r>
          </a:p>
        </p:txBody>
      </p:sp>
      <p:sp>
        <p:nvSpPr>
          <p:cNvPr id="39" name="TextBox 33"/>
          <p:cNvSpPr txBox="1">
            <a:spLocks noChangeArrowheads="1"/>
          </p:cNvSpPr>
          <p:nvPr/>
        </p:nvSpPr>
        <p:spPr bwMode="auto">
          <a:xfrm>
            <a:off x="1019020" y="2251640"/>
            <a:ext cx="15617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defRPr>
            </a:lvl9pPr>
          </a:lstStyle>
          <a:p>
            <a:pPr defTabSz="6858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b="0" kern="0" dirty="0">
                <a:solidFill>
                  <a:srgbClr val="000000"/>
                </a:solidFill>
                <a:latin typeface="+mn-lt"/>
              </a:rPr>
              <a:t>. 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1019020" y="784345"/>
            <a:ext cx="6330059" cy="3350090"/>
            <a:chOff x="1722362" y="1273442"/>
            <a:chExt cx="8440079" cy="4466786"/>
          </a:xfrm>
        </p:grpSpPr>
        <p:grpSp>
          <p:nvGrpSpPr>
            <p:cNvPr id="5" name="Group 4"/>
            <p:cNvGrpSpPr/>
            <p:nvPr/>
          </p:nvGrpSpPr>
          <p:grpSpPr>
            <a:xfrm>
              <a:off x="1722362" y="1287318"/>
              <a:ext cx="8440079" cy="4452910"/>
              <a:chOff x="1789122" y="1209606"/>
              <a:chExt cx="8440079" cy="4452910"/>
            </a:xfrm>
          </p:grpSpPr>
          <p:sp>
            <p:nvSpPr>
              <p:cNvPr id="6" name="Freeform 5"/>
              <p:cNvSpPr/>
              <p:nvPr/>
            </p:nvSpPr>
            <p:spPr>
              <a:xfrm>
                <a:off x="1789123" y="1209606"/>
                <a:ext cx="4050657" cy="1265830"/>
              </a:xfrm>
              <a:custGeom>
                <a:avLst/>
                <a:gdLst>
                  <a:gd name="connsiteX0" fmla="*/ 0 w 4050657"/>
                  <a:gd name="connsiteY0" fmla="*/ 0 h 1265830"/>
                  <a:gd name="connsiteX1" fmla="*/ 4050657 w 4050657"/>
                  <a:gd name="connsiteY1" fmla="*/ 0 h 1265830"/>
                  <a:gd name="connsiteX2" fmla="*/ 4050657 w 4050657"/>
                  <a:gd name="connsiteY2" fmla="*/ 1265830 h 1265830"/>
                  <a:gd name="connsiteX3" fmla="*/ 0 w 4050657"/>
                  <a:gd name="connsiteY3" fmla="*/ 1265830 h 1265830"/>
                  <a:gd name="connsiteX4" fmla="*/ 0 w 4050657"/>
                  <a:gd name="connsiteY4" fmla="*/ 0 h 126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0657" h="1265830">
                    <a:moveTo>
                      <a:pt x="0" y="0"/>
                    </a:moveTo>
                    <a:lnTo>
                      <a:pt x="4050657" y="0"/>
                    </a:lnTo>
                    <a:lnTo>
                      <a:pt x="4050657" y="1265830"/>
                    </a:lnTo>
                    <a:lnTo>
                      <a:pt x="0" y="12658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D2A1E"/>
                </a:solidFill>
              </a:ln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3042" tIns="37148" rIns="37148" bIns="37148" numCol="1" spcCol="1270" anchor="ctr" anchorCtr="0">
                <a:noAutofit/>
              </a:bodyPr>
              <a:lstStyle/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tx1"/>
                    </a:solidFill>
                  </a:rPr>
                  <a:t>	             LEI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si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EUR</a:t>
                </a:r>
              </a:p>
            </p:txBody>
          </p:sp>
          <p:sp>
            <p:nvSpPr>
              <p:cNvPr id="9" name="Freeform 8"/>
              <p:cNvSpPr/>
              <p:nvPr/>
            </p:nvSpPr>
            <p:spPr>
              <a:xfrm>
                <a:off x="6178544" y="1209606"/>
                <a:ext cx="4050657" cy="1265830"/>
              </a:xfrm>
              <a:custGeom>
                <a:avLst/>
                <a:gdLst>
                  <a:gd name="connsiteX0" fmla="*/ 0 w 4050657"/>
                  <a:gd name="connsiteY0" fmla="*/ 0 h 1265830"/>
                  <a:gd name="connsiteX1" fmla="*/ 4050657 w 4050657"/>
                  <a:gd name="connsiteY1" fmla="*/ 0 h 1265830"/>
                  <a:gd name="connsiteX2" fmla="*/ 4050657 w 4050657"/>
                  <a:gd name="connsiteY2" fmla="*/ 1265830 h 1265830"/>
                  <a:gd name="connsiteX3" fmla="*/ 0 w 4050657"/>
                  <a:gd name="connsiteY3" fmla="*/ 1265830 h 1265830"/>
                  <a:gd name="connsiteX4" fmla="*/ 0 w 4050657"/>
                  <a:gd name="connsiteY4" fmla="*/ 0 h 126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0657" h="1265830">
                    <a:moveTo>
                      <a:pt x="0" y="0"/>
                    </a:moveTo>
                    <a:lnTo>
                      <a:pt x="4050657" y="0"/>
                    </a:lnTo>
                    <a:lnTo>
                      <a:pt x="4050657" y="1265830"/>
                    </a:lnTo>
                    <a:lnTo>
                      <a:pt x="0" y="12658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D2A1E"/>
                </a:solidFill>
              </a:ln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3042" tIns="37148" rIns="37148" bIns="37148" numCol="1" spcCol="1270" anchor="ctr" anchorCtr="0">
                <a:noAutofit/>
              </a:bodyPr>
              <a:lstStyle/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tx1"/>
                    </a:solidFill>
                  </a:rPr>
                  <a:t>	      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Incepand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cu 10%</a:t>
                </a:r>
              </a:p>
            </p:txBody>
          </p:sp>
          <p:sp>
            <p:nvSpPr>
              <p:cNvPr id="11" name="Freeform 10"/>
              <p:cNvSpPr/>
              <p:nvPr/>
            </p:nvSpPr>
            <p:spPr>
              <a:xfrm>
                <a:off x="1789123" y="2803146"/>
                <a:ext cx="4050657" cy="1334380"/>
              </a:xfrm>
              <a:custGeom>
                <a:avLst/>
                <a:gdLst>
                  <a:gd name="connsiteX0" fmla="*/ 0 w 4050657"/>
                  <a:gd name="connsiteY0" fmla="*/ 0 h 1265830"/>
                  <a:gd name="connsiteX1" fmla="*/ 4050657 w 4050657"/>
                  <a:gd name="connsiteY1" fmla="*/ 0 h 1265830"/>
                  <a:gd name="connsiteX2" fmla="*/ 4050657 w 4050657"/>
                  <a:gd name="connsiteY2" fmla="*/ 1265830 h 1265830"/>
                  <a:gd name="connsiteX3" fmla="*/ 0 w 4050657"/>
                  <a:gd name="connsiteY3" fmla="*/ 1265830 h 1265830"/>
                  <a:gd name="connsiteX4" fmla="*/ 0 w 4050657"/>
                  <a:gd name="connsiteY4" fmla="*/ 0 h 126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0657" h="1265830">
                    <a:moveTo>
                      <a:pt x="0" y="0"/>
                    </a:moveTo>
                    <a:lnTo>
                      <a:pt x="4050657" y="0"/>
                    </a:lnTo>
                    <a:lnTo>
                      <a:pt x="4050657" y="1265830"/>
                    </a:lnTo>
                    <a:lnTo>
                      <a:pt x="0" y="12658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D2A1E"/>
                </a:solidFill>
              </a:ln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3042" tIns="37148" rIns="37148" bIns="37148" numCol="1" spcCol="1270" anchor="ctr" anchorCtr="0">
                <a:noAutofit/>
              </a:bodyPr>
              <a:lstStyle/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tx1"/>
                  </a:solidFill>
                </a:endParaRP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tx1"/>
                  </a:solidFill>
                </a:endParaRP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tx1"/>
                  </a:solidFill>
                </a:endParaRPr>
              </a:p>
              <a:p>
                <a:pPr algn="ctr"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tx1"/>
                    </a:solidFill>
                  </a:rPr>
                  <a:t>0.1% - 20% -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reprezinta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</a:t>
                </a:r>
                <a:r>
                  <a:rPr lang="en-US" sz="1000" dirty="0" err="1"/>
                  <a:t>suma</a:t>
                </a:r>
                <a:r>
                  <a:rPr lang="en-US" sz="1000" dirty="0"/>
                  <a:t> de </a:t>
                </a:r>
                <a:r>
                  <a:rPr lang="en-US" sz="1000" dirty="0" err="1"/>
                  <a:t>plata</a:t>
                </a:r>
                <a:r>
                  <a:rPr lang="en-US" sz="1000" dirty="0"/>
                  <a:t> la </a:t>
                </a:r>
                <a:r>
                  <a:rPr lang="en-US" sz="1000" dirty="0" err="1"/>
                  <a:t>finalul</a:t>
                </a:r>
                <a:r>
                  <a:rPr lang="en-US" sz="1000" dirty="0"/>
                  <a:t> </a:t>
                </a:r>
                <a:r>
                  <a:rPr lang="en-US" sz="1000" dirty="0" err="1"/>
                  <a:t>contractului</a:t>
                </a:r>
                <a:r>
                  <a:rPr lang="en-US" sz="1000" dirty="0"/>
                  <a:t> </a:t>
                </a:r>
                <a:r>
                  <a:rPr lang="en-US" sz="1000" dirty="0" err="1"/>
                  <a:t>pentru</a:t>
                </a:r>
                <a:r>
                  <a:rPr lang="en-US" sz="1000" dirty="0"/>
                  <a:t> </a:t>
                </a:r>
                <a:r>
                  <a:rPr lang="en-US" sz="1000" dirty="0" err="1"/>
                  <a:t>preluarea</a:t>
                </a:r>
                <a:r>
                  <a:rPr lang="en-US" sz="1000" dirty="0"/>
                  <a:t> </a:t>
                </a:r>
                <a:r>
                  <a:rPr lang="en-US" sz="1000" dirty="0" err="1"/>
                  <a:t>bunului</a:t>
                </a:r>
                <a:r>
                  <a:rPr lang="en-US" sz="1000" dirty="0"/>
                  <a:t> in </a:t>
                </a:r>
                <a:r>
                  <a:rPr lang="en-US" sz="1000" dirty="0" err="1"/>
                  <a:t>proprietate</a:t>
                </a:r>
                <a:endParaRPr lang="ro-RO" sz="1000" dirty="0"/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tx1"/>
                  </a:solidFill>
                </a:endParaRP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reeform 12"/>
              <p:cNvSpPr/>
              <p:nvPr/>
            </p:nvSpPr>
            <p:spPr>
              <a:xfrm>
                <a:off x="6178544" y="2803146"/>
                <a:ext cx="4050657" cy="1334380"/>
              </a:xfrm>
              <a:custGeom>
                <a:avLst/>
                <a:gdLst>
                  <a:gd name="connsiteX0" fmla="*/ 0 w 4050657"/>
                  <a:gd name="connsiteY0" fmla="*/ 0 h 1265830"/>
                  <a:gd name="connsiteX1" fmla="*/ 4050657 w 4050657"/>
                  <a:gd name="connsiteY1" fmla="*/ 0 h 1265830"/>
                  <a:gd name="connsiteX2" fmla="*/ 4050657 w 4050657"/>
                  <a:gd name="connsiteY2" fmla="*/ 1265830 h 1265830"/>
                  <a:gd name="connsiteX3" fmla="*/ 0 w 4050657"/>
                  <a:gd name="connsiteY3" fmla="*/ 1265830 h 1265830"/>
                  <a:gd name="connsiteX4" fmla="*/ 0 w 4050657"/>
                  <a:gd name="connsiteY4" fmla="*/ 0 h 126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0657" h="1265830">
                    <a:moveTo>
                      <a:pt x="0" y="0"/>
                    </a:moveTo>
                    <a:lnTo>
                      <a:pt x="4050657" y="0"/>
                    </a:lnTo>
                    <a:lnTo>
                      <a:pt x="4050657" y="1265830"/>
                    </a:lnTo>
                    <a:lnTo>
                      <a:pt x="0" y="12658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D2A1E"/>
                </a:solidFill>
              </a:ln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3042" tIns="37148" rIns="37148" bIns="37148" numCol="1" spcCol="1270" anchor="ctr" anchorCtr="0">
                <a:noAutofit/>
              </a:bodyPr>
              <a:lstStyle/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tx1"/>
                  </a:solidFill>
                </a:endParaRP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tx1"/>
                    </a:solidFill>
                  </a:rPr>
                  <a:t>		1 – 5 ani</a:t>
                </a: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975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Freeform 18"/>
              <p:cNvSpPr/>
              <p:nvPr/>
            </p:nvSpPr>
            <p:spPr>
              <a:xfrm>
                <a:off x="1789122" y="4396686"/>
                <a:ext cx="4050657" cy="1265830"/>
              </a:xfrm>
              <a:custGeom>
                <a:avLst/>
                <a:gdLst>
                  <a:gd name="connsiteX0" fmla="*/ 0 w 4050657"/>
                  <a:gd name="connsiteY0" fmla="*/ 0 h 1265830"/>
                  <a:gd name="connsiteX1" fmla="*/ 4050657 w 4050657"/>
                  <a:gd name="connsiteY1" fmla="*/ 0 h 1265830"/>
                  <a:gd name="connsiteX2" fmla="*/ 4050657 w 4050657"/>
                  <a:gd name="connsiteY2" fmla="*/ 1265830 h 1265830"/>
                  <a:gd name="connsiteX3" fmla="*/ 0 w 4050657"/>
                  <a:gd name="connsiteY3" fmla="*/ 1265830 h 1265830"/>
                  <a:gd name="connsiteX4" fmla="*/ 0 w 4050657"/>
                  <a:gd name="connsiteY4" fmla="*/ 0 h 126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0657" h="1265830">
                    <a:moveTo>
                      <a:pt x="0" y="0"/>
                    </a:moveTo>
                    <a:lnTo>
                      <a:pt x="4050657" y="0"/>
                    </a:lnTo>
                    <a:lnTo>
                      <a:pt x="4050657" y="1265830"/>
                    </a:lnTo>
                    <a:lnTo>
                      <a:pt x="0" y="12658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D2A1E"/>
                </a:solidFill>
              </a:ln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3042" tIns="37148" rIns="37148" bIns="37148" numCol="1" spcCol="1270" anchor="ctr" anchorCtr="0">
                <a:noAutofit/>
              </a:bodyPr>
              <a:lstStyle/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bg1"/>
                    </a:solidFill>
                  </a:rPr>
                  <a:t>5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            </a:t>
                </a: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tx1"/>
                    </a:solidFill>
                  </a:rPr>
                  <a:t>                        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Fixa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si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variabila</a:t>
                </a:r>
                <a:endParaRPr lang="en-US" altLang="en-US" sz="975" dirty="0">
                  <a:solidFill>
                    <a:schemeClr val="tx1"/>
                  </a:solidFill>
                </a:endParaRP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Freeform 23"/>
              <p:cNvSpPr/>
              <p:nvPr/>
            </p:nvSpPr>
            <p:spPr>
              <a:xfrm>
                <a:off x="6178544" y="4396686"/>
                <a:ext cx="4050657" cy="1265830"/>
              </a:xfrm>
              <a:custGeom>
                <a:avLst/>
                <a:gdLst>
                  <a:gd name="connsiteX0" fmla="*/ 0 w 4050657"/>
                  <a:gd name="connsiteY0" fmla="*/ 0 h 1265830"/>
                  <a:gd name="connsiteX1" fmla="*/ 4050657 w 4050657"/>
                  <a:gd name="connsiteY1" fmla="*/ 0 h 1265830"/>
                  <a:gd name="connsiteX2" fmla="*/ 4050657 w 4050657"/>
                  <a:gd name="connsiteY2" fmla="*/ 1265830 h 1265830"/>
                  <a:gd name="connsiteX3" fmla="*/ 0 w 4050657"/>
                  <a:gd name="connsiteY3" fmla="*/ 1265830 h 1265830"/>
                  <a:gd name="connsiteX4" fmla="*/ 0 w 4050657"/>
                  <a:gd name="connsiteY4" fmla="*/ 0 h 126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0657" h="1265830">
                    <a:moveTo>
                      <a:pt x="0" y="0"/>
                    </a:moveTo>
                    <a:lnTo>
                      <a:pt x="4050657" y="0"/>
                    </a:lnTo>
                    <a:lnTo>
                      <a:pt x="4050657" y="1265830"/>
                    </a:lnTo>
                    <a:lnTo>
                      <a:pt x="0" y="12658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D2A1E"/>
                </a:solidFill>
              </a:ln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3042" tIns="37148" rIns="37148" bIns="37148" numCol="1" spcCol="1270" anchor="ctr" anchorCtr="0">
                <a:noAutofit/>
              </a:bodyPr>
              <a:lstStyle/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bg1"/>
                  </a:solidFill>
                </a:endParaRP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altLang="en-US" sz="975" dirty="0">
                    <a:solidFill>
                      <a:schemeClr val="tx1"/>
                    </a:solidFill>
                  </a:rPr>
                  <a:t>	  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Cotatii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foarte</a:t>
                </a:r>
                <a:r>
                  <a:rPr lang="en-US" altLang="en-US" sz="975" dirty="0">
                    <a:solidFill>
                      <a:schemeClr val="tx1"/>
                    </a:solidFill>
                  </a:rPr>
                  <a:t> </a:t>
                </a:r>
                <a:r>
                  <a:rPr lang="en-US" altLang="en-US" sz="975" dirty="0" err="1">
                    <a:solidFill>
                      <a:schemeClr val="tx1"/>
                    </a:solidFill>
                  </a:rPr>
                  <a:t>avantajoase</a:t>
                </a:r>
                <a:r>
                  <a:rPr lang="en-US" altLang="en-US" sz="975" dirty="0">
                    <a:solidFill>
                      <a:schemeClr val="bg1"/>
                    </a:solidFill>
                  </a:rPr>
                  <a:t>. </a:t>
                </a:r>
              </a:p>
              <a:p>
                <a:pPr defTabSz="43338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altLang="en-US" sz="975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Rounded Rectangle 28"/>
            <p:cNvSpPr/>
            <p:nvPr/>
          </p:nvSpPr>
          <p:spPr>
            <a:xfrm>
              <a:off x="3171454" y="4493969"/>
              <a:ext cx="1611911" cy="327030"/>
            </a:xfrm>
            <a:prstGeom prst="roundRect">
              <a:avLst/>
            </a:prstGeom>
            <a:solidFill>
              <a:srgbClr val="CD2A1E"/>
            </a:solidFill>
            <a:ln w="25400" cap="flat" cmpd="sng" algn="ctr">
              <a:solidFill>
                <a:srgbClr val="CD2A1E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 err="1">
                  <a:solidFill>
                    <a:srgbClr val="FFFFFF"/>
                  </a:solidFill>
                  <a:ea typeface="MS PGothic"/>
                </a:rPr>
                <a:t>Dobanda</a:t>
              </a:r>
              <a:r>
                <a:rPr lang="en-US" sz="900" b="1" kern="0" dirty="0">
                  <a:solidFill>
                    <a:srgbClr val="FFFFFF"/>
                  </a:solidFill>
                  <a:ea typeface="MS PGothic"/>
                </a:rPr>
                <a:t> 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7591364" y="1273442"/>
              <a:ext cx="1611911" cy="327030"/>
            </a:xfrm>
            <a:prstGeom prst="roundRect">
              <a:avLst/>
            </a:prstGeom>
            <a:solidFill>
              <a:schemeClr val="tx1"/>
            </a:solidFill>
            <a:ln w="25400" cap="flat" cmpd="sng" algn="ctr">
              <a:solidFill>
                <a:srgbClr val="E6E6E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FFFFFF"/>
                  </a:solidFill>
                  <a:ea typeface="MS PGothic"/>
                </a:rPr>
                <a:t>Avans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3167639" y="1306866"/>
              <a:ext cx="1611911" cy="327030"/>
            </a:xfrm>
            <a:prstGeom prst="roundRect">
              <a:avLst/>
            </a:prstGeom>
            <a:solidFill>
              <a:srgbClr val="CD2A1E"/>
            </a:solidFill>
            <a:ln w="25400" cap="flat" cmpd="sng" algn="ctr">
              <a:solidFill>
                <a:srgbClr val="CD2A1E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FFFFFF"/>
                  </a:solidFill>
                  <a:ea typeface="MS PGothic"/>
                </a:rPr>
                <a:t>Moneda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7591363" y="2878800"/>
              <a:ext cx="1611911" cy="327030"/>
            </a:xfrm>
            <a:prstGeom prst="roundRect">
              <a:avLst/>
            </a:prstGeom>
            <a:solidFill>
              <a:srgbClr val="CD2A1E"/>
            </a:solidFill>
            <a:ln w="25400" cap="flat" cmpd="sng" algn="ctr">
              <a:solidFill>
                <a:srgbClr val="CD2A1E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 err="1">
                  <a:solidFill>
                    <a:srgbClr val="FFFFFF"/>
                  </a:solidFill>
                  <a:ea typeface="MS PGothic"/>
                </a:rPr>
                <a:t>Perioada</a:t>
              </a:r>
              <a:endParaRPr lang="en-US" sz="900" b="1" kern="0" dirty="0">
                <a:solidFill>
                  <a:srgbClr val="FFFFFF"/>
                </a:solidFill>
                <a:ea typeface="MS PGothic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628759" y="4249180"/>
            <a:ext cx="7717046" cy="253916"/>
          </a:xfrm>
          <a:prstGeom prst="rect">
            <a:avLst/>
          </a:prstGeom>
          <a:ln w="19050">
            <a:solidFill>
              <a:srgbClr val="CD2A1E"/>
            </a:solidFill>
          </a:ln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50" kern="0" dirty="0">
              <a:ea typeface="MS PGothic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1088136" y="1087487"/>
            <a:ext cx="479407" cy="472037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4395868" y="1054685"/>
            <a:ext cx="479407" cy="472037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1088135" y="2279987"/>
            <a:ext cx="479407" cy="472037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4387702" y="2279987"/>
            <a:ext cx="479407" cy="472037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4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1088135" y="3423730"/>
            <a:ext cx="479407" cy="472037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5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4387701" y="3397476"/>
            <a:ext cx="479407" cy="472037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6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6" name="Title 7">
            <a:extLst>
              <a:ext uri="{FF2B5EF4-FFF2-40B4-BE49-F238E27FC236}">
                <a16:creationId xmlns:a16="http://schemas.microsoft.com/office/drawing/2014/main" id="{87F55E6D-B3F3-4D2B-836C-BEE4FCBC7C95}"/>
              </a:ext>
            </a:extLst>
          </p:cNvPr>
          <p:cNvSpPr txBox="1">
            <a:spLocks/>
          </p:cNvSpPr>
          <p:nvPr/>
        </p:nvSpPr>
        <p:spPr>
          <a:xfrm>
            <a:off x="455830" y="263094"/>
            <a:ext cx="8494295" cy="2973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1252538" algn="l"/>
              </a:tabLst>
              <a:defRPr lang="en-US" sz="1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pPr defTabSz="685800">
              <a:tabLst>
                <a:tab pos="939404" algn="l"/>
              </a:tabLst>
              <a:defRPr/>
            </a:pPr>
            <a:r>
              <a:rPr lang="en-US" sz="1800" dirty="0" err="1">
                <a:solidFill>
                  <a:schemeClr val="bg2"/>
                </a:solidFill>
              </a:rPr>
              <a:t>Structura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finantarii</a:t>
            </a:r>
            <a:endParaRPr lang="en-US" altLang="zh-HK" sz="1800" b="0" dirty="0">
              <a:solidFill>
                <a:schemeClr val="bg2"/>
              </a:solidFill>
              <a:latin typeface="Montserrat ExtraBold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25BAABA-74B1-48E5-8D02-B5C397A05B34}"/>
              </a:ext>
            </a:extLst>
          </p:cNvPr>
          <p:cNvSpPr/>
          <p:nvPr/>
        </p:nvSpPr>
        <p:spPr>
          <a:xfrm>
            <a:off x="251961" y="567044"/>
            <a:ext cx="2450306" cy="45719"/>
          </a:xfrm>
          <a:prstGeom prst="rect">
            <a:avLst/>
          </a:prstGeom>
          <a:solidFill>
            <a:srgbClr val="CE2B1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466">
              <a:defRPr/>
            </a:pPr>
            <a:endParaRPr lang="en-US" sz="500" dirty="0">
              <a:solidFill>
                <a:prstClr val="white"/>
              </a:solidFill>
              <a:latin typeface="Quicksand Light" pitchFamily="2" charset="0"/>
            </a:endParaRPr>
          </a:p>
        </p:txBody>
      </p:sp>
      <p:sp>
        <p:nvSpPr>
          <p:cNvPr id="8" name="Rounded Rectangle 29">
            <a:extLst>
              <a:ext uri="{FF2B5EF4-FFF2-40B4-BE49-F238E27FC236}">
                <a16:creationId xmlns:a16="http://schemas.microsoft.com/office/drawing/2014/main" id="{708C02B0-2786-007B-07FA-83E78A6D2451}"/>
              </a:ext>
            </a:extLst>
          </p:cNvPr>
          <p:cNvSpPr/>
          <p:nvPr/>
        </p:nvSpPr>
        <p:spPr>
          <a:xfrm>
            <a:off x="2097800" y="2024094"/>
            <a:ext cx="1208933" cy="245273"/>
          </a:xfrm>
          <a:prstGeom prst="roundRect">
            <a:avLst/>
          </a:prstGeom>
          <a:solidFill>
            <a:schemeClr val="tx1"/>
          </a:solidFill>
          <a:ln w="25400" cap="flat" cmpd="sng" algn="ctr">
            <a:solidFill>
              <a:srgbClr val="E6E6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>
                <a:solidFill>
                  <a:srgbClr val="FFFFFF"/>
                </a:solidFill>
                <a:ea typeface="MS PGothic"/>
              </a:rPr>
              <a:t>Valoare</a:t>
            </a:r>
            <a:r>
              <a:rPr lang="en-US" sz="900" b="1" kern="0" dirty="0">
                <a:solidFill>
                  <a:srgbClr val="FFFFFF"/>
                </a:solidFill>
                <a:ea typeface="MS PGothic"/>
              </a:rPr>
              <a:t> </a:t>
            </a:r>
            <a:r>
              <a:rPr lang="en-US" sz="900" b="1" kern="0" dirty="0" err="1">
                <a:solidFill>
                  <a:srgbClr val="FFFFFF"/>
                </a:solidFill>
                <a:ea typeface="MS PGothic"/>
              </a:rPr>
              <a:t>reziduala</a:t>
            </a:r>
            <a:endParaRPr lang="en-US" sz="900" b="1" kern="0" dirty="0">
              <a:solidFill>
                <a:srgbClr val="FFFFFF"/>
              </a:solidFill>
              <a:ea typeface="MS PGothic"/>
            </a:endParaRPr>
          </a:p>
        </p:txBody>
      </p:sp>
      <p:sp>
        <p:nvSpPr>
          <p:cNvPr id="10" name="Rounded Rectangle 29">
            <a:extLst>
              <a:ext uri="{FF2B5EF4-FFF2-40B4-BE49-F238E27FC236}">
                <a16:creationId xmlns:a16="http://schemas.microsoft.com/office/drawing/2014/main" id="{222A3E56-68FE-E8F3-BD55-A8EB3A0A714C}"/>
              </a:ext>
            </a:extLst>
          </p:cNvPr>
          <p:cNvSpPr/>
          <p:nvPr/>
        </p:nvSpPr>
        <p:spPr>
          <a:xfrm>
            <a:off x="5358425" y="3199741"/>
            <a:ext cx="1208933" cy="245273"/>
          </a:xfrm>
          <a:prstGeom prst="roundRect">
            <a:avLst/>
          </a:prstGeom>
          <a:solidFill>
            <a:schemeClr val="tx1"/>
          </a:solidFill>
          <a:ln w="25400" cap="flat" cmpd="sng" algn="ctr">
            <a:solidFill>
              <a:srgbClr val="E6E6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>
                <a:solidFill>
                  <a:srgbClr val="FFFFFF"/>
                </a:solidFill>
                <a:ea typeface="MS PGothic"/>
              </a:rPr>
              <a:t>Asigurare</a:t>
            </a:r>
            <a:endParaRPr lang="en-US" sz="900" b="1" kern="0" dirty="0">
              <a:solidFill>
                <a:srgbClr val="FFFFFF"/>
              </a:solidFill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85120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37C66-36A4-7D5F-40EE-73B8C5805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75451"/>
            <a:ext cx="3595255" cy="1910443"/>
          </a:xfrm>
          <a:noFill/>
          <a:ln>
            <a:noFill/>
          </a:ln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z="2700" dirty="0" err="1"/>
              <a:t>Avantajele</a:t>
            </a:r>
            <a:r>
              <a:rPr lang="en-US" sz="2700" dirty="0"/>
              <a:t> </a:t>
            </a:r>
            <a:r>
              <a:rPr lang="en-US" sz="2700" dirty="0" err="1"/>
              <a:t>colaborarii</a:t>
            </a:r>
            <a:r>
              <a:rPr lang="en-US" sz="2700" dirty="0"/>
              <a:t> cu BRD Sogeleas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F14DF7C-0969-71C2-5196-962DA985EDC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3084355"/>
              </p:ext>
            </p:extLst>
          </p:nvPr>
        </p:nvGraphicFramePr>
        <p:xfrm>
          <a:off x="3678790" y="213360"/>
          <a:ext cx="5000125" cy="4785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18931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DB0BEC-5318-A820-87EF-4EF47874D4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C866D5-3729-4389-D133-A43A0282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436" y="128142"/>
            <a:ext cx="6303964" cy="467307"/>
          </a:xfrm>
        </p:spPr>
        <p:txBody>
          <a:bodyPr/>
          <a:lstStyle/>
          <a:p>
            <a:r>
              <a:rPr lang="en-US" dirty="0"/>
              <a:t>BRD Sogelease – </a:t>
            </a:r>
            <a:r>
              <a:rPr lang="en-US" dirty="0" err="1"/>
              <a:t>acoperire</a:t>
            </a:r>
            <a:r>
              <a:rPr lang="en-US" dirty="0"/>
              <a:t> </a:t>
            </a:r>
            <a:r>
              <a:rPr lang="en-US" dirty="0" err="1"/>
              <a:t>nationala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55FDD4-E909-CDCC-9AC6-65D44333F2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4262" y="702129"/>
            <a:ext cx="6433992" cy="4216869"/>
          </a:xfrm>
          <a:prstGeom prst="rect">
            <a:avLst/>
          </a:prstGeom>
        </p:spPr>
      </p:pic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B7A03DC6-9E2F-EB72-FD88-D570EBF542FA}"/>
              </a:ext>
            </a:extLst>
          </p:cNvPr>
          <p:cNvSpPr txBox="1">
            <a:spLocks/>
          </p:cNvSpPr>
          <p:nvPr/>
        </p:nvSpPr>
        <p:spPr bwMode="gray">
          <a:xfrm>
            <a:off x="90056" y="1362716"/>
            <a:ext cx="1953490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defTabSz="742928">
              <a:lnSpc>
                <a:spcPct val="90000"/>
              </a:lnSpc>
              <a:spcBef>
                <a:spcPts val="488"/>
              </a:spcBef>
              <a:defRPr sz="1200"/>
            </a:lvl1pPr>
          </a:lstStyle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/>
              <a:t>37 </a:t>
            </a:r>
            <a:r>
              <a:rPr lang="en-US" dirty="0" err="1"/>
              <a:t>Coordonatori</a:t>
            </a:r>
            <a:r>
              <a:rPr lang="en-US" dirty="0"/>
              <a:t> </a:t>
            </a:r>
            <a:r>
              <a:rPr lang="en-US" dirty="0" err="1"/>
              <a:t>comerciali</a:t>
            </a:r>
            <a:endParaRPr lang="en-US" dirty="0"/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 err="1"/>
              <a:t>Prezenta</a:t>
            </a:r>
            <a:r>
              <a:rPr lang="en-US" dirty="0"/>
              <a:t> in </a:t>
            </a:r>
            <a:r>
              <a:rPr lang="en-US" dirty="0" err="1"/>
              <a:t>cele</a:t>
            </a:r>
            <a:r>
              <a:rPr lang="en-US" dirty="0"/>
              <a:t> </a:t>
            </a:r>
            <a:r>
              <a:rPr lang="en-US" dirty="0" err="1"/>
              <a:t>mai</a:t>
            </a:r>
            <a:r>
              <a:rPr lang="en-US" dirty="0"/>
              <a:t> </a:t>
            </a:r>
            <a:r>
              <a:rPr lang="en-US" dirty="0" err="1"/>
              <a:t>mari</a:t>
            </a:r>
            <a:r>
              <a:rPr lang="en-US" dirty="0"/>
              <a:t> 16 </a:t>
            </a:r>
            <a:r>
              <a:rPr lang="en-US" dirty="0" err="1"/>
              <a:t>orase</a:t>
            </a:r>
            <a:r>
              <a:rPr lang="en-US" dirty="0"/>
              <a:t> + </a:t>
            </a:r>
            <a:r>
              <a:rPr lang="en-US" dirty="0" err="1"/>
              <a:t>Bucurest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557920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370697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9hiXj0C7ohHk2YCFDS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  <p:tag name="SMARTLINKEDSHAPEID" val="SideBa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  <p:tag name="SMARTLINKEDSHAPEID" val="SideBa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  <p:tag name="SMARTLINKEDSHAPEID" val="SideBa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9hiXj0C7ohHk2YCFDS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  <p:tag name="SMARTLINKEDSHAPEID" val="SideBa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  <p:tag name="SMARTLINKEDSHAPEID" val="SideBa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  <p:tag name="SMARTLINKEDSHAPEID" val="SideBa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LAYOUT_CONST" val="3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heme/theme1.xml><?xml version="1.0" encoding="utf-8"?>
<a:theme xmlns:a="http://schemas.openxmlformats.org/drawingml/2006/main" name="SG Group Identity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wrap="square" lIns="0" tIns="0" rIns="0" bIns="0" rtlCol="0" anchor="ctr">
        <a:spAutoFit/>
      </a:bodyPr>
      <a:lstStyle>
        <a:defPPr algn="ctr">
          <a:spcBef>
            <a:spcPts val="1200"/>
          </a:spcBef>
          <a:defRPr sz="1200" dirty="0">
            <a:ea typeface="Source Sans Pro" pitchFamily="34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E4173809-C234-4463-899D-283D66DC3094}" vid="{680AC50C-474D-4D7E-8ACC-BA9A4660F00C}"/>
    </a:ext>
  </a:extLst>
</a:theme>
</file>

<file path=ppt/theme/theme2.xml><?xml version="1.0" encoding="utf-8"?>
<a:theme xmlns:a="http://schemas.openxmlformats.org/drawingml/2006/main" name="Consulting Proposal Romania E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Consulting Proposal Romania E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DU2ZWUzOS0yZGRkLTQyZGMtYWQ2ZS0zY2MyN2M5MjVhOWIiIG9yaWdpbj0idXNlclNlbGVjdGVkIj48ZWxlbWVudCB1aWQ9ImlkX2NsYXNzaWZpY2F0aW9uX2V1cmVzdHJpY3RlZCIgdmFsdWU9IiIgeG1sbnM9Imh0dHA6Ly93d3cuYm9sZG9uamFtZXMuY29tLzIwMDgvMDEvc2llL2ludGVybmFsL2xhYmVsIiAvPjwvc2lzbD48VXNlck5hbWU+RVVSXHNiaWdub24wNDAxMTA8L1VzZXJOYW1lPjxEYXRlVGltZT4wOS8xMS8yMDE4IDE0OjIyOjAzPC9EYXRlVGltZT48TGFiZWxTdHJpbmc+QzAgLSBQdWJsaWMgPC9MYWJlbFN0cmluZz48L2l0ZW0+PC9sYWJlbEhpc3Rvcnk+</Value>
</WrappedLabelHistory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sisl xmlns:xsi="http://www.w3.org/2001/XMLSchema-instance" xmlns:xsd="http://www.w3.org/2001/XMLSchema" xmlns="http://www.boldonjames.com/2008/01/sie/internal/label" sislVersion="0" policy="cd56ee39-2ddd-42dc-ad6e-3cc27c925a9b" origin="userSelected">
  <element uid="id_classification_eurestricted" value=""/>
</sisl>
</file>

<file path=customXml/itemProps1.xml><?xml version="1.0" encoding="utf-8"?>
<ds:datastoreItem xmlns:ds="http://schemas.openxmlformats.org/officeDocument/2006/customXml" ds:itemID="{CE37D52D-D983-48DC-9BF1-167A440E7378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52094505-7CFE-4331-AE47-C53AB6446B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E15C36-4FEF-4F7E-B289-4748A02CF5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B5262EC9-87F2-43D4-9E8F-894A14C8298D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27FB59BA-8C85-489B-882D-690A2AD4E0F0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G 2018 - Template 16-9 - EN</Template>
  <TotalTime>293</TotalTime>
  <Words>321</Words>
  <Application>Microsoft Office PowerPoint</Application>
  <PresentationFormat>On-screen Show (16:9)</PresentationFormat>
  <Paragraphs>62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1" baseType="lpstr">
      <vt:lpstr>MS PGothic</vt:lpstr>
      <vt:lpstr>Aptos</vt:lpstr>
      <vt:lpstr>Arial</vt:lpstr>
      <vt:lpstr>Calibri</vt:lpstr>
      <vt:lpstr>Georgia</vt:lpstr>
      <vt:lpstr>Montserrat ExtraBold</vt:lpstr>
      <vt:lpstr>Quicksand Light</vt:lpstr>
      <vt:lpstr>Source Sans Pro</vt:lpstr>
      <vt:lpstr>Times New Roman</vt:lpstr>
      <vt:lpstr>Wingdings</vt:lpstr>
      <vt:lpstr>Wingdings 3</vt:lpstr>
      <vt:lpstr>SG Group Identity</vt:lpstr>
      <vt:lpstr>Consulting Proposal Romania EN</vt:lpstr>
      <vt:lpstr>1_Consulting Proposal Romania EN</vt:lpstr>
      <vt:lpstr>think-cell Slide</vt:lpstr>
      <vt:lpstr>  BRD Sogelease </vt:lpstr>
      <vt:lpstr>Solutie simpla de finantare  pentru persoane juridice, inclusiv profesii liberale</vt:lpstr>
      <vt:lpstr>PowerPoint Presentation</vt:lpstr>
      <vt:lpstr>Avantajele colaborarii cu BRD Sogelease</vt:lpstr>
      <vt:lpstr>BRD Sogelease – acoperire nationala</vt:lpstr>
      <vt:lpstr>PowerPoint Presentation</vt:lpstr>
    </vt:vector>
  </TitlesOfParts>
  <Company>SOCIETE GENE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SG Group Template</dc:subject>
  <dc:creator>MELISSA HADJARA</dc:creator>
  <cp:keywords>C0 - Public</cp:keywords>
  <cp:lastModifiedBy>Vlad Manolache</cp:lastModifiedBy>
  <cp:revision>774</cp:revision>
  <cp:lastPrinted>2022-06-10T08:07:09Z</cp:lastPrinted>
  <dcterms:created xsi:type="dcterms:W3CDTF">2018-11-12T13:59:44Z</dcterms:created>
  <dcterms:modified xsi:type="dcterms:W3CDTF">2026-03-31T14:44:31Z</dcterms:modified>
  <cp:category>SG Group Template</cp:category>
  <cp:contentStatus>2018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_AssetClass">
    <vt:lpwstr>CORI_UK</vt:lpwstr>
  </property>
  <property fmtid="{D5CDD505-2E9C-101B-9397-08002B2CF9AE}" pid="3" name="FO_TypeTPL">
    <vt:lpwstr>CORI</vt:lpwstr>
  </property>
  <property fmtid="{D5CDD505-2E9C-101B-9397-08002B2CF9AE}" pid="4" name="FO_TPLNew">
    <vt:lpwstr>Yes</vt:lpwstr>
  </property>
  <property fmtid="{D5CDD505-2E9C-101B-9397-08002B2CF9AE}" pid="5" name="docIndexRef">
    <vt:lpwstr>49b380ec-2bde-4a68-bbfd-52de95062198</vt:lpwstr>
  </property>
  <property fmtid="{D5CDD505-2E9C-101B-9397-08002B2CF9AE}" pid="6" name="bjSaver">
    <vt:lpwstr>fB7huj5BR+k1BTBn+ncpwOtJ9ivrYn9l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cd56ee39-2ddd-42dc-ad6e-3cc27c925a9b" origin="userSelected" xmlns="http://www.boldonj</vt:lpwstr>
  </property>
  <property fmtid="{D5CDD505-2E9C-101B-9397-08002B2CF9AE}" pid="8" name="bjDocumentLabelXML-0">
    <vt:lpwstr>ames.com/2008/01/sie/internal/label"&gt;&lt;element uid="id_classification_eurestricted" value="" /&gt;&lt;/sisl&gt;</vt:lpwstr>
  </property>
  <property fmtid="{D5CDD505-2E9C-101B-9397-08002B2CF9AE}" pid="9" name="Classification_DLP">
    <vt:lpwstr>C0_C0</vt:lpwstr>
  </property>
  <property fmtid="{D5CDD505-2E9C-101B-9397-08002B2CF9AE}" pid="10" name="bjLabelHistoryID">
    <vt:lpwstr>{CE37D52D-D983-48DC-9BF1-167A440E7378}</vt:lpwstr>
  </property>
  <property fmtid="{D5CDD505-2E9C-101B-9397-08002B2CF9AE}" pid="11" name="bjDocumentSecurityLabel">
    <vt:lpwstr>C0 - Public</vt:lpwstr>
  </property>
  <property fmtid="{D5CDD505-2E9C-101B-9397-08002B2CF9AE}" pid="12" name="MSIP_Label_a401b303-ecb1-4a9d-936a-70858c2d9a3e_Enabled">
    <vt:lpwstr>true</vt:lpwstr>
  </property>
  <property fmtid="{D5CDD505-2E9C-101B-9397-08002B2CF9AE}" pid="13" name="MSIP_Label_a401b303-ecb1-4a9d-936a-70858c2d9a3e_SetDate">
    <vt:lpwstr>2026-01-28T12:04:00Z</vt:lpwstr>
  </property>
  <property fmtid="{D5CDD505-2E9C-101B-9397-08002B2CF9AE}" pid="14" name="MSIP_Label_a401b303-ecb1-4a9d-936a-70858c2d9a3e_Method">
    <vt:lpwstr>Privileged</vt:lpwstr>
  </property>
  <property fmtid="{D5CDD505-2E9C-101B-9397-08002B2CF9AE}" pid="15" name="MSIP_Label_a401b303-ecb1-4a9d-936a-70858c2d9a3e_Name">
    <vt:lpwstr>a401b303-ecb1-4a9d-936a-70858c2d9a3e</vt:lpwstr>
  </property>
  <property fmtid="{D5CDD505-2E9C-101B-9397-08002B2CF9AE}" pid="16" name="MSIP_Label_a401b303-ecb1-4a9d-936a-70858c2d9a3e_SiteId">
    <vt:lpwstr>c9a7d621-4bc4-4407-b730-f428e656aa9e</vt:lpwstr>
  </property>
  <property fmtid="{D5CDD505-2E9C-101B-9397-08002B2CF9AE}" pid="17" name="MSIP_Label_a401b303-ecb1-4a9d-936a-70858c2d9a3e_ActionId">
    <vt:lpwstr>76fd3b30-0eca-412c-8e1d-c336f95f4ca5</vt:lpwstr>
  </property>
  <property fmtid="{D5CDD505-2E9C-101B-9397-08002B2CF9AE}" pid="18" name="MSIP_Label_a401b303-ecb1-4a9d-936a-70858c2d9a3e_ContentBits">
    <vt:lpwstr>0</vt:lpwstr>
  </property>
</Properties>
</file>